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1316" r:id="rId6"/>
    <p:sldId id="1317" r:id="rId7"/>
    <p:sldId id="1318" r:id="rId8"/>
    <p:sldId id="1319" r:id="rId9"/>
    <p:sldId id="399" r:id="rId10"/>
    <p:sldId id="1332" r:id="rId11"/>
    <p:sldId id="1333" r:id="rId12"/>
    <p:sldId id="995" r:id="rId13"/>
    <p:sldId id="996" r:id="rId14"/>
    <p:sldId id="994" r:id="rId15"/>
    <p:sldId id="997" r:id="rId16"/>
    <p:sldId id="5871" r:id="rId17"/>
    <p:sldId id="5872" r:id="rId18"/>
    <p:sldId id="5873" r:id="rId19"/>
    <p:sldId id="794" r:id="rId20"/>
    <p:sldId id="1329" r:id="rId21"/>
    <p:sldId id="1330" r:id="rId22"/>
    <p:sldId id="5870" r:id="rId23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76" autoAdjust="0"/>
    <p:restoredTop sz="94660"/>
  </p:normalViewPr>
  <p:slideViewPr>
    <p:cSldViewPr snapToGrid="0">
      <p:cViewPr varScale="1">
        <p:scale>
          <a:sx n="61" d="100"/>
          <a:sy n="61" d="100"/>
        </p:scale>
        <p:origin x="1244" y="6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e Sarkis" userId="e8826e32-598d-44e8-9752-b7fdf035a46f" providerId="ADAL" clId="{B1888A04-353B-410A-830D-F8C670B33E8F}"/>
    <pc:docChg chg="undo custSel addSld delSld modSld sldOrd">
      <pc:chgData name="Elie Sarkis" userId="e8826e32-598d-44e8-9752-b7fdf035a46f" providerId="ADAL" clId="{B1888A04-353B-410A-830D-F8C670B33E8F}" dt="2023-01-04T06:17:05.343" v="117" actId="20577"/>
      <pc:docMkLst>
        <pc:docMk/>
      </pc:docMkLst>
      <pc:sldChg chg="modSp mod">
        <pc:chgData name="Elie Sarkis" userId="e8826e32-598d-44e8-9752-b7fdf035a46f" providerId="ADAL" clId="{B1888A04-353B-410A-830D-F8C670B33E8F}" dt="2023-01-04T06:17:05.343" v="117" actId="20577"/>
        <pc:sldMkLst>
          <pc:docMk/>
          <pc:sldMk cId="751796680" sldId="256"/>
        </pc:sldMkLst>
        <pc:spChg chg="mod">
          <ac:chgData name="Elie Sarkis" userId="e8826e32-598d-44e8-9752-b7fdf035a46f" providerId="ADAL" clId="{B1888A04-353B-410A-830D-F8C670B33E8F}" dt="2023-01-04T06:17:05.343" v="117" actId="20577"/>
          <ac:spMkLst>
            <pc:docMk/>
            <pc:sldMk cId="751796680" sldId="256"/>
            <ac:spMk id="5" creationId="{1A12168F-BBB5-C845-B138-AB550A9E1E14}"/>
          </ac:spMkLst>
        </pc:spChg>
      </pc:sldChg>
      <pc:sldChg chg="del">
        <pc:chgData name="Elie Sarkis" userId="e8826e32-598d-44e8-9752-b7fdf035a46f" providerId="ADAL" clId="{B1888A04-353B-410A-830D-F8C670B33E8F}" dt="2023-01-03T13:01:45.228" v="90" actId="47"/>
        <pc:sldMkLst>
          <pc:docMk/>
          <pc:sldMk cId="3288824265" sldId="373"/>
        </pc:sldMkLst>
      </pc:sldChg>
      <pc:sldChg chg="add del">
        <pc:chgData name="Elie Sarkis" userId="e8826e32-598d-44e8-9752-b7fdf035a46f" providerId="ADAL" clId="{B1888A04-353B-410A-830D-F8C670B33E8F}" dt="2023-01-04T06:13:48.659" v="110"/>
        <pc:sldMkLst>
          <pc:docMk/>
          <pc:sldMk cId="582129481" sldId="382"/>
        </pc:sldMkLst>
      </pc:sldChg>
      <pc:sldChg chg="add del">
        <pc:chgData name="Elie Sarkis" userId="e8826e32-598d-44e8-9752-b7fdf035a46f" providerId="ADAL" clId="{B1888A04-353B-410A-830D-F8C670B33E8F}" dt="2023-01-04T06:13:48.659" v="110"/>
        <pc:sldMkLst>
          <pc:docMk/>
          <pc:sldMk cId="3128945122" sldId="396"/>
        </pc:sldMkLst>
      </pc:sldChg>
      <pc:sldChg chg="add del">
        <pc:chgData name="Elie Sarkis" userId="e8826e32-598d-44e8-9752-b7fdf035a46f" providerId="ADAL" clId="{B1888A04-353B-410A-830D-F8C670B33E8F}" dt="2023-01-04T06:13:48.659" v="110"/>
        <pc:sldMkLst>
          <pc:docMk/>
          <pc:sldMk cId="2545775575" sldId="397"/>
        </pc:sldMkLst>
      </pc:sldChg>
      <pc:sldChg chg="modSp add mod modClrScheme chgLayout">
        <pc:chgData name="Elie Sarkis" userId="e8826e32-598d-44e8-9752-b7fdf035a46f" providerId="ADAL" clId="{B1888A04-353B-410A-830D-F8C670B33E8F}" dt="2023-01-03T12:58:53.960" v="55" actId="5793"/>
        <pc:sldMkLst>
          <pc:docMk/>
          <pc:sldMk cId="2093464265" sldId="399"/>
        </pc:sldMkLst>
        <pc:spChg chg="mod">
          <ac:chgData name="Elie Sarkis" userId="e8826e32-598d-44e8-9752-b7fdf035a46f" providerId="ADAL" clId="{B1888A04-353B-410A-830D-F8C670B33E8F}" dt="2023-01-03T12:58:53.960" v="55" actId="5793"/>
          <ac:spMkLst>
            <pc:docMk/>
            <pc:sldMk cId="2093464265" sldId="399"/>
            <ac:spMk id="5" creationId="{00000000-0000-0000-0000-000000000000}"/>
          </ac:spMkLst>
        </pc:spChg>
        <pc:spChg chg="mod">
          <ac:chgData name="Elie Sarkis" userId="e8826e32-598d-44e8-9752-b7fdf035a46f" providerId="ADAL" clId="{B1888A04-353B-410A-830D-F8C670B33E8F}" dt="2023-01-03T12:58:40.268" v="30" actId="404"/>
          <ac:spMkLst>
            <pc:docMk/>
            <pc:sldMk cId="2093464265" sldId="399"/>
            <ac:spMk id="6" creationId="{00000000-0000-0000-0000-000000000000}"/>
          </ac:spMkLst>
        </pc:spChg>
      </pc:sldChg>
      <pc:sldChg chg="modSp add mod modClrScheme chgLayout">
        <pc:chgData name="Elie Sarkis" userId="e8826e32-598d-44e8-9752-b7fdf035a46f" providerId="ADAL" clId="{B1888A04-353B-410A-830D-F8C670B33E8F}" dt="2023-01-03T13:01:57.157" v="93" actId="700"/>
        <pc:sldMkLst>
          <pc:docMk/>
          <pc:sldMk cId="2251014315" sldId="794"/>
        </pc:sldMkLst>
        <pc:spChg chg="mod">
          <ac:chgData name="Elie Sarkis" userId="e8826e32-598d-44e8-9752-b7fdf035a46f" providerId="ADAL" clId="{B1888A04-353B-410A-830D-F8C670B33E8F}" dt="2023-01-03T13:01:50.888" v="92" actId="114"/>
          <ac:spMkLst>
            <pc:docMk/>
            <pc:sldMk cId="2251014315" sldId="794"/>
            <ac:spMk id="6" creationId="{00000000-0000-0000-0000-000000000000}"/>
          </ac:spMkLst>
        </pc:spChg>
      </pc:sldChg>
      <pc:sldChg chg="del">
        <pc:chgData name="Elie Sarkis" userId="e8826e32-598d-44e8-9752-b7fdf035a46f" providerId="ADAL" clId="{B1888A04-353B-410A-830D-F8C670B33E8F}" dt="2023-01-03T12:57:08.549" v="6" actId="47"/>
        <pc:sldMkLst>
          <pc:docMk/>
          <pc:sldMk cId="2088236400" sldId="897"/>
        </pc:sldMkLst>
      </pc:sldChg>
      <pc:sldChg chg="del">
        <pc:chgData name="Elie Sarkis" userId="e8826e32-598d-44e8-9752-b7fdf035a46f" providerId="ADAL" clId="{B1888A04-353B-410A-830D-F8C670B33E8F}" dt="2023-01-03T13:01:24.713" v="82" actId="47"/>
        <pc:sldMkLst>
          <pc:docMk/>
          <pc:sldMk cId="3985694819" sldId="899"/>
        </pc:sldMkLst>
      </pc:sldChg>
      <pc:sldChg chg="del">
        <pc:chgData name="Elie Sarkis" userId="e8826e32-598d-44e8-9752-b7fdf035a46f" providerId="ADAL" clId="{B1888A04-353B-410A-830D-F8C670B33E8F}" dt="2023-01-03T13:01:28.587" v="88" actId="47"/>
        <pc:sldMkLst>
          <pc:docMk/>
          <pc:sldMk cId="2478315847" sldId="990"/>
        </pc:sldMkLst>
      </pc:sldChg>
      <pc:sldChg chg="modSp add mod modClrScheme chgLayout">
        <pc:chgData name="Elie Sarkis" userId="e8826e32-598d-44e8-9752-b7fdf035a46f" providerId="ADAL" clId="{B1888A04-353B-410A-830D-F8C670B33E8F}" dt="2023-01-03T13:01:05.711" v="73" actId="700"/>
        <pc:sldMkLst>
          <pc:docMk/>
          <pc:sldMk cId="3312606001" sldId="994"/>
        </pc:sldMkLst>
        <pc:spChg chg="mod">
          <ac:chgData name="Elie Sarkis" userId="e8826e32-598d-44e8-9752-b7fdf035a46f" providerId="ADAL" clId="{B1888A04-353B-410A-830D-F8C670B33E8F}" dt="2023-01-03T13:00:50.865" v="71" actId="207"/>
          <ac:spMkLst>
            <pc:docMk/>
            <pc:sldMk cId="3312606001" sldId="994"/>
            <ac:spMk id="7" creationId="{FB65F994-414F-4275-BDD5-0A776D01C9B1}"/>
          </ac:spMkLst>
        </pc:spChg>
        <pc:spChg chg="mod">
          <ac:chgData name="Elie Sarkis" userId="e8826e32-598d-44e8-9752-b7fdf035a46f" providerId="ADAL" clId="{B1888A04-353B-410A-830D-F8C670B33E8F}" dt="2023-01-03T13:00:55.141" v="72" actId="404"/>
          <ac:spMkLst>
            <pc:docMk/>
            <pc:sldMk cId="3312606001" sldId="994"/>
            <ac:spMk id="8" creationId="{E8623DE5-C38F-4EA4-96CA-936923973059}"/>
          </ac:spMkLst>
        </pc:spChg>
        <pc:spChg chg="mod">
          <ac:chgData name="Elie Sarkis" userId="e8826e32-598d-44e8-9752-b7fdf035a46f" providerId="ADAL" clId="{B1888A04-353B-410A-830D-F8C670B33E8F}" dt="2023-01-03T13:00:55.141" v="72" actId="404"/>
          <ac:spMkLst>
            <pc:docMk/>
            <pc:sldMk cId="3312606001" sldId="994"/>
            <ac:spMk id="9" creationId="{7389D853-2013-49CA-BF4D-BD330466186C}"/>
          </ac:spMkLst>
        </pc:spChg>
        <pc:spChg chg="mod">
          <ac:chgData name="Elie Sarkis" userId="e8826e32-598d-44e8-9752-b7fdf035a46f" providerId="ADAL" clId="{B1888A04-353B-410A-830D-F8C670B33E8F}" dt="2023-01-03T13:00:50.865" v="71" actId="207"/>
          <ac:spMkLst>
            <pc:docMk/>
            <pc:sldMk cId="3312606001" sldId="994"/>
            <ac:spMk id="10" creationId="{A29DAC6E-9481-431D-A643-CF1D180BAF0C}"/>
          </ac:spMkLst>
        </pc:spChg>
        <pc:spChg chg="mod">
          <ac:chgData name="Elie Sarkis" userId="e8826e32-598d-44e8-9752-b7fdf035a46f" providerId="ADAL" clId="{B1888A04-353B-410A-830D-F8C670B33E8F}" dt="2023-01-03T13:00:50.865" v="71" actId="207"/>
          <ac:spMkLst>
            <pc:docMk/>
            <pc:sldMk cId="3312606001" sldId="994"/>
            <ac:spMk id="11" creationId="{214CC087-EE47-4B6A-BB30-D0CD61AAFAB4}"/>
          </ac:spMkLst>
        </pc:spChg>
      </pc:sldChg>
      <pc:sldChg chg="modSp add mod modClrScheme chgLayout">
        <pc:chgData name="Elie Sarkis" userId="e8826e32-598d-44e8-9752-b7fdf035a46f" providerId="ADAL" clId="{B1888A04-353B-410A-830D-F8C670B33E8F}" dt="2023-01-03T13:01:05.711" v="73" actId="700"/>
        <pc:sldMkLst>
          <pc:docMk/>
          <pc:sldMk cId="4115384389" sldId="995"/>
        </pc:sldMkLst>
        <pc:spChg chg="mod">
          <ac:chgData name="Elie Sarkis" userId="e8826e32-598d-44e8-9752-b7fdf035a46f" providerId="ADAL" clId="{B1888A04-353B-410A-830D-F8C670B33E8F}" dt="2023-01-03T12:59:50.008" v="63" actId="255"/>
          <ac:spMkLst>
            <pc:docMk/>
            <pc:sldMk cId="4115384389" sldId="995"/>
            <ac:spMk id="7" creationId="{FB65F994-414F-4275-BDD5-0A776D01C9B1}"/>
          </ac:spMkLst>
        </pc:spChg>
      </pc:sldChg>
      <pc:sldChg chg="modSp add mod modClrScheme chgLayout">
        <pc:chgData name="Elie Sarkis" userId="e8826e32-598d-44e8-9752-b7fdf035a46f" providerId="ADAL" clId="{B1888A04-353B-410A-830D-F8C670B33E8F}" dt="2023-01-03T13:01:05.711" v="73" actId="700"/>
        <pc:sldMkLst>
          <pc:docMk/>
          <pc:sldMk cId="438045366" sldId="996"/>
        </pc:sldMkLst>
        <pc:spChg chg="mod">
          <ac:chgData name="Elie Sarkis" userId="e8826e32-598d-44e8-9752-b7fdf035a46f" providerId="ADAL" clId="{B1888A04-353B-410A-830D-F8C670B33E8F}" dt="2023-01-03T12:59:59.280" v="66" actId="207"/>
          <ac:spMkLst>
            <pc:docMk/>
            <pc:sldMk cId="438045366" sldId="996"/>
            <ac:spMk id="7" creationId="{FB65F994-414F-4275-BDD5-0A776D01C9B1}"/>
          </ac:spMkLst>
        </pc:spChg>
      </pc:sldChg>
      <pc:sldChg chg="modSp add mod modClrScheme chgLayout">
        <pc:chgData name="Elie Sarkis" userId="e8826e32-598d-44e8-9752-b7fdf035a46f" providerId="ADAL" clId="{B1888A04-353B-410A-830D-F8C670B33E8F}" dt="2023-01-03T13:01:15.795" v="76" actId="255"/>
        <pc:sldMkLst>
          <pc:docMk/>
          <pc:sldMk cId="3795885080" sldId="997"/>
        </pc:sldMkLst>
        <pc:spChg chg="mod">
          <ac:chgData name="Elie Sarkis" userId="e8826e32-598d-44e8-9752-b7fdf035a46f" providerId="ADAL" clId="{B1888A04-353B-410A-830D-F8C670B33E8F}" dt="2023-01-03T13:01:15.795" v="76" actId="255"/>
          <ac:spMkLst>
            <pc:docMk/>
            <pc:sldMk cId="3795885080" sldId="997"/>
            <ac:spMk id="7" creationId="{FB65F994-414F-4275-BDD5-0A776D01C9B1}"/>
          </ac:spMkLst>
        </pc:spChg>
      </pc:sldChg>
      <pc:sldChg chg="del">
        <pc:chgData name="Elie Sarkis" userId="e8826e32-598d-44e8-9752-b7fdf035a46f" providerId="ADAL" clId="{B1888A04-353B-410A-830D-F8C670B33E8F}" dt="2023-01-03T13:01:27.986" v="87" actId="47"/>
        <pc:sldMkLst>
          <pc:docMk/>
          <pc:sldMk cId="1826301479" sldId="1314"/>
        </pc:sldMkLst>
      </pc:sldChg>
      <pc:sldChg chg="add mod modClrScheme chgLayout">
        <pc:chgData name="Elie Sarkis" userId="e8826e32-598d-44e8-9752-b7fdf035a46f" providerId="ADAL" clId="{B1888A04-353B-410A-830D-F8C670B33E8F}" dt="2023-01-04T06:16:49.287" v="114" actId="700"/>
        <pc:sldMkLst>
          <pc:docMk/>
          <pc:sldMk cId="0" sldId="1316"/>
        </pc:sldMkLst>
      </pc:sldChg>
      <pc:sldChg chg="modSp add mod ord modClrScheme chgLayout">
        <pc:chgData name="Elie Sarkis" userId="e8826e32-598d-44e8-9752-b7fdf035a46f" providerId="ADAL" clId="{B1888A04-353B-410A-830D-F8C670B33E8F}" dt="2023-01-04T06:13:53.465" v="112"/>
        <pc:sldMkLst>
          <pc:docMk/>
          <pc:sldMk cId="0" sldId="1317"/>
        </pc:sldMkLst>
        <pc:spChg chg="mod">
          <ac:chgData name="Elie Sarkis" userId="e8826e32-598d-44e8-9752-b7fdf035a46f" providerId="ADAL" clId="{B1888A04-353B-410A-830D-F8C670B33E8F}" dt="2023-01-03T12:58:17.998" v="24" actId="14100"/>
          <ac:spMkLst>
            <pc:docMk/>
            <pc:sldMk cId="0" sldId="1317"/>
            <ac:spMk id="5" creationId="{8183D8EC-8034-8D54-6ECC-ED71D7DD7438}"/>
          </ac:spMkLst>
        </pc:spChg>
        <pc:spChg chg="mod">
          <ac:chgData name="Elie Sarkis" userId="e8826e32-598d-44e8-9752-b7fdf035a46f" providerId="ADAL" clId="{B1888A04-353B-410A-830D-F8C670B33E8F}" dt="2023-01-03T12:58:13.082" v="23" actId="2711"/>
          <ac:spMkLst>
            <pc:docMk/>
            <pc:sldMk cId="0" sldId="1317"/>
            <ac:spMk id="11" creationId="{50C4AAC0-D3FF-79D9-058E-EEB78E06C911}"/>
          </ac:spMkLst>
        </pc:spChg>
        <pc:picChg chg="mod">
          <ac:chgData name="Elie Sarkis" userId="e8826e32-598d-44e8-9752-b7fdf035a46f" providerId="ADAL" clId="{B1888A04-353B-410A-830D-F8C670B33E8F}" dt="2023-01-03T12:57:16.570" v="7" actId="14100"/>
          <ac:picMkLst>
            <pc:docMk/>
            <pc:sldMk cId="0" sldId="1317"/>
            <ac:picMk id="29700" creationId="{22C729F8-CBC2-F000-2176-2F602B5129FE}"/>
          </ac:picMkLst>
        </pc:picChg>
      </pc:sldChg>
      <pc:sldChg chg="modSp add mod modClrScheme chgLayout">
        <pc:chgData name="Elie Sarkis" userId="e8826e32-598d-44e8-9752-b7fdf035a46f" providerId="ADAL" clId="{B1888A04-353B-410A-830D-F8C670B33E8F}" dt="2023-01-03T12:58:24.357" v="26" actId="404"/>
        <pc:sldMkLst>
          <pc:docMk/>
          <pc:sldMk cId="0" sldId="1318"/>
        </pc:sldMkLst>
        <pc:spChg chg="mod">
          <ac:chgData name="Elie Sarkis" userId="e8826e32-598d-44e8-9752-b7fdf035a46f" providerId="ADAL" clId="{B1888A04-353B-410A-830D-F8C670B33E8F}" dt="2023-01-03T12:58:24.357" v="26" actId="404"/>
          <ac:spMkLst>
            <pc:docMk/>
            <pc:sldMk cId="0" sldId="1318"/>
            <ac:spMk id="5" creationId="{684C1F33-A9B8-DA8D-CB42-7FA10BCF1D9A}"/>
          </ac:spMkLst>
        </pc:spChg>
        <pc:picChg chg="mod">
          <ac:chgData name="Elie Sarkis" userId="e8826e32-598d-44e8-9752-b7fdf035a46f" providerId="ADAL" clId="{B1888A04-353B-410A-830D-F8C670B33E8F}" dt="2023-01-03T12:57:26.148" v="8" actId="1076"/>
          <ac:picMkLst>
            <pc:docMk/>
            <pc:sldMk cId="0" sldId="1318"/>
            <ac:picMk id="30723" creationId="{5E48DB17-AB0E-3CAA-5991-3CA295D8093F}"/>
          </ac:picMkLst>
        </pc:picChg>
      </pc:sldChg>
      <pc:sldChg chg="modSp add mod modClrScheme chgLayout">
        <pc:chgData name="Elie Sarkis" userId="e8826e32-598d-44e8-9752-b7fdf035a46f" providerId="ADAL" clId="{B1888A04-353B-410A-830D-F8C670B33E8F}" dt="2023-01-03T12:58:29.701" v="28" actId="404"/>
        <pc:sldMkLst>
          <pc:docMk/>
          <pc:sldMk cId="0" sldId="1319"/>
        </pc:sldMkLst>
        <pc:spChg chg="mod">
          <ac:chgData name="Elie Sarkis" userId="e8826e32-598d-44e8-9752-b7fdf035a46f" providerId="ADAL" clId="{B1888A04-353B-410A-830D-F8C670B33E8F}" dt="2023-01-03T12:58:29.701" v="28" actId="404"/>
          <ac:spMkLst>
            <pc:docMk/>
            <pc:sldMk cId="0" sldId="1319"/>
            <ac:spMk id="5" creationId="{1ABDFD77-6EA5-C200-B219-035164290661}"/>
          </ac:spMkLst>
        </pc:spChg>
        <pc:spChg chg="mod">
          <ac:chgData name="Elie Sarkis" userId="e8826e32-598d-44e8-9752-b7fdf035a46f" providerId="ADAL" clId="{B1888A04-353B-410A-830D-F8C670B33E8F}" dt="2023-01-03T12:57:46.118" v="14" actId="1076"/>
          <ac:spMkLst>
            <pc:docMk/>
            <pc:sldMk cId="0" sldId="1319"/>
            <ac:spMk id="7" creationId="{EF10BEE6-BFD0-CCCF-0552-FC15894A82C3}"/>
          </ac:spMkLst>
        </pc:spChg>
        <pc:spChg chg="mod">
          <ac:chgData name="Elie Sarkis" userId="e8826e32-598d-44e8-9752-b7fdf035a46f" providerId="ADAL" clId="{B1888A04-353B-410A-830D-F8C670B33E8F}" dt="2023-01-03T12:57:46.118" v="14" actId="1076"/>
          <ac:spMkLst>
            <pc:docMk/>
            <pc:sldMk cId="0" sldId="1319"/>
            <ac:spMk id="9" creationId="{168E4D33-381C-C2A7-B23A-8A5F656CE506}"/>
          </ac:spMkLst>
        </pc:spChg>
        <pc:picChg chg="mod">
          <ac:chgData name="Elie Sarkis" userId="e8826e32-598d-44e8-9752-b7fdf035a46f" providerId="ADAL" clId="{B1888A04-353B-410A-830D-F8C670B33E8F}" dt="2023-01-03T12:57:46.118" v="14" actId="1076"/>
          <ac:picMkLst>
            <pc:docMk/>
            <pc:sldMk cId="0" sldId="1319"/>
            <ac:picMk id="3" creationId="{1189985D-5C30-9D9D-74E3-FFCEC5D14658}"/>
          </ac:picMkLst>
        </pc:picChg>
        <pc:picChg chg="mod">
          <ac:chgData name="Elie Sarkis" userId="e8826e32-598d-44e8-9752-b7fdf035a46f" providerId="ADAL" clId="{B1888A04-353B-410A-830D-F8C670B33E8F}" dt="2023-01-03T12:57:46.118" v="14" actId="1076"/>
          <ac:picMkLst>
            <pc:docMk/>
            <pc:sldMk cId="0" sldId="1319"/>
            <ac:picMk id="6" creationId="{0C32CE29-A0B0-1F51-5116-ED0D3F7CC35B}"/>
          </ac:picMkLst>
        </pc:picChg>
      </pc:sldChg>
      <pc:sldChg chg="del">
        <pc:chgData name="Elie Sarkis" userId="e8826e32-598d-44e8-9752-b7fdf035a46f" providerId="ADAL" clId="{B1888A04-353B-410A-830D-F8C670B33E8F}" dt="2023-01-03T13:01:23.104" v="80" actId="47"/>
        <pc:sldMkLst>
          <pc:docMk/>
          <pc:sldMk cId="2299398627" sldId="1321"/>
        </pc:sldMkLst>
      </pc:sldChg>
      <pc:sldChg chg="del">
        <pc:chgData name="Elie Sarkis" userId="e8826e32-598d-44e8-9752-b7fdf035a46f" providerId="ADAL" clId="{B1888A04-353B-410A-830D-F8C670B33E8F}" dt="2023-01-03T13:01:21.491" v="77" actId="47"/>
        <pc:sldMkLst>
          <pc:docMk/>
          <pc:sldMk cId="1558776685" sldId="1324"/>
        </pc:sldMkLst>
      </pc:sldChg>
      <pc:sldChg chg="del">
        <pc:chgData name="Elie Sarkis" userId="e8826e32-598d-44e8-9752-b7fdf035a46f" providerId="ADAL" clId="{B1888A04-353B-410A-830D-F8C670B33E8F}" dt="2023-01-03T13:01:22.107" v="78" actId="47"/>
        <pc:sldMkLst>
          <pc:docMk/>
          <pc:sldMk cId="3456510750" sldId="1325"/>
        </pc:sldMkLst>
      </pc:sldChg>
      <pc:sldChg chg="del">
        <pc:chgData name="Elie Sarkis" userId="e8826e32-598d-44e8-9752-b7fdf035a46f" providerId="ADAL" clId="{B1888A04-353B-410A-830D-F8C670B33E8F}" dt="2023-01-03T13:01:22.595" v="79" actId="47"/>
        <pc:sldMkLst>
          <pc:docMk/>
          <pc:sldMk cId="3810041088" sldId="1326"/>
        </pc:sldMkLst>
      </pc:sldChg>
      <pc:sldChg chg="del">
        <pc:chgData name="Elie Sarkis" userId="e8826e32-598d-44e8-9752-b7fdf035a46f" providerId="ADAL" clId="{B1888A04-353B-410A-830D-F8C670B33E8F}" dt="2023-01-03T13:01:24.207" v="81" actId="47"/>
        <pc:sldMkLst>
          <pc:docMk/>
          <pc:sldMk cId="2688871144" sldId="1327"/>
        </pc:sldMkLst>
      </pc:sldChg>
      <pc:sldChg chg="del">
        <pc:chgData name="Elie Sarkis" userId="e8826e32-598d-44e8-9752-b7fdf035a46f" providerId="ADAL" clId="{B1888A04-353B-410A-830D-F8C670B33E8F}" dt="2023-01-03T13:01:25.667" v="83" actId="47"/>
        <pc:sldMkLst>
          <pc:docMk/>
          <pc:sldMk cId="1692540853" sldId="1328"/>
        </pc:sldMkLst>
      </pc:sldChg>
      <pc:sldChg chg="modSp add mod modClrScheme chgLayout">
        <pc:chgData name="Elie Sarkis" userId="e8826e32-598d-44e8-9752-b7fdf035a46f" providerId="ADAL" clId="{B1888A04-353B-410A-830D-F8C670B33E8F}" dt="2023-01-03T13:02:38.209" v="109" actId="1076"/>
        <pc:sldMkLst>
          <pc:docMk/>
          <pc:sldMk cId="2879045376" sldId="1329"/>
        </pc:sldMkLst>
        <pc:picChg chg="mod">
          <ac:chgData name="Elie Sarkis" userId="e8826e32-598d-44e8-9752-b7fdf035a46f" providerId="ADAL" clId="{B1888A04-353B-410A-830D-F8C670B33E8F}" dt="2023-01-03T13:02:38.209" v="109" actId="1076"/>
          <ac:picMkLst>
            <pc:docMk/>
            <pc:sldMk cId="2879045376" sldId="1329"/>
            <ac:picMk id="7" creationId="{D8F53DD2-664F-E63E-DC3C-A0DBD1BBA299}"/>
          </ac:picMkLst>
        </pc:picChg>
        <pc:picChg chg="mod">
          <ac:chgData name="Elie Sarkis" userId="e8826e32-598d-44e8-9752-b7fdf035a46f" providerId="ADAL" clId="{B1888A04-353B-410A-830D-F8C670B33E8F}" dt="2023-01-03T13:02:38.209" v="109" actId="1076"/>
          <ac:picMkLst>
            <pc:docMk/>
            <pc:sldMk cId="2879045376" sldId="1329"/>
            <ac:picMk id="9" creationId="{D9350CCE-D32B-1793-866B-05D99812F34D}"/>
          </ac:picMkLst>
        </pc:picChg>
        <pc:picChg chg="mod">
          <ac:chgData name="Elie Sarkis" userId="e8826e32-598d-44e8-9752-b7fdf035a46f" providerId="ADAL" clId="{B1888A04-353B-410A-830D-F8C670B33E8F}" dt="2023-01-03T13:02:38.209" v="109" actId="1076"/>
          <ac:picMkLst>
            <pc:docMk/>
            <pc:sldMk cId="2879045376" sldId="1329"/>
            <ac:picMk id="11" creationId="{55D5F86A-B1E9-5BAE-6AE5-882C0DF2FBFF}"/>
          </ac:picMkLst>
        </pc:picChg>
      </pc:sldChg>
      <pc:sldChg chg="modSp add mod modClrScheme chgLayout">
        <pc:chgData name="Elie Sarkis" userId="e8826e32-598d-44e8-9752-b7fdf035a46f" providerId="ADAL" clId="{B1888A04-353B-410A-830D-F8C670B33E8F}" dt="2023-01-03T13:02:18.265" v="101" actId="1076"/>
        <pc:sldMkLst>
          <pc:docMk/>
          <pc:sldMk cId="649918010" sldId="1330"/>
        </pc:sldMkLst>
        <pc:picChg chg="mod">
          <ac:chgData name="Elie Sarkis" userId="e8826e32-598d-44e8-9752-b7fdf035a46f" providerId="ADAL" clId="{B1888A04-353B-410A-830D-F8C670B33E8F}" dt="2023-01-03T13:02:18.265" v="101" actId="1076"/>
          <ac:picMkLst>
            <pc:docMk/>
            <pc:sldMk cId="649918010" sldId="1330"/>
            <ac:picMk id="3" creationId="{E5B19A6A-E71E-E99E-2F6F-95282071FF7F}"/>
          </ac:picMkLst>
        </pc:picChg>
        <pc:picChg chg="mod">
          <ac:chgData name="Elie Sarkis" userId="e8826e32-598d-44e8-9752-b7fdf035a46f" providerId="ADAL" clId="{B1888A04-353B-410A-830D-F8C670B33E8F}" dt="2023-01-03T13:02:18.265" v="101" actId="1076"/>
          <ac:picMkLst>
            <pc:docMk/>
            <pc:sldMk cId="649918010" sldId="1330"/>
            <ac:picMk id="6" creationId="{1E51299A-324F-9A37-ED9F-4FF2CC78B972}"/>
          </ac:picMkLst>
        </pc:picChg>
        <pc:picChg chg="mod">
          <ac:chgData name="Elie Sarkis" userId="e8826e32-598d-44e8-9752-b7fdf035a46f" providerId="ADAL" clId="{B1888A04-353B-410A-830D-F8C670B33E8F}" dt="2023-01-03T13:02:18.265" v="101" actId="1076"/>
          <ac:picMkLst>
            <pc:docMk/>
            <pc:sldMk cId="649918010" sldId="1330"/>
            <ac:picMk id="8" creationId="{7844B47B-7C62-810F-E7D9-1BB85E852119}"/>
          </ac:picMkLst>
        </pc:picChg>
      </pc:sldChg>
      <pc:sldChg chg="add mod modClrScheme chgLayout">
        <pc:chgData name="Elie Sarkis" userId="e8826e32-598d-44e8-9752-b7fdf035a46f" providerId="ADAL" clId="{B1888A04-353B-410A-830D-F8C670B33E8F}" dt="2023-01-03T13:01:05.711" v="73" actId="700"/>
        <pc:sldMkLst>
          <pc:docMk/>
          <pc:sldMk cId="328729060" sldId="1332"/>
        </pc:sldMkLst>
      </pc:sldChg>
      <pc:sldChg chg="modSp add mod modClrScheme chgLayout">
        <pc:chgData name="Elie Sarkis" userId="e8826e32-598d-44e8-9752-b7fdf035a46f" providerId="ADAL" clId="{B1888A04-353B-410A-830D-F8C670B33E8F}" dt="2023-01-03T13:01:05.711" v="73" actId="700"/>
        <pc:sldMkLst>
          <pc:docMk/>
          <pc:sldMk cId="3668312982" sldId="1333"/>
        </pc:sldMkLst>
        <pc:spChg chg="mod">
          <ac:chgData name="Elie Sarkis" userId="e8826e32-598d-44e8-9752-b7fdf035a46f" providerId="ADAL" clId="{B1888A04-353B-410A-830D-F8C670B33E8F}" dt="2023-01-03T12:59:42.028" v="60" actId="404"/>
          <ac:spMkLst>
            <pc:docMk/>
            <pc:sldMk cId="3668312982" sldId="1333"/>
            <ac:spMk id="5" creationId="{F31FCC2B-359B-0E8B-4AD4-75CDBA12FCAB}"/>
          </ac:spMkLst>
        </pc:spChg>
      </pc:sldChg>
    </pc:docChg>
  </pc:docChgLst>
  <pc:docChgLst>
    <pc:chgData name="Elie Sarkis" userId="e8826e32-598d-44e8-9752-b7fdf035a46f" providerId="ADAL" clId="{F54A5366-76F5-428D-81A4-AB80D614F464}"/>
    <pc:docChg chg="undo custSel addSld delSld modSld sldOrd">
      <pc:chgData name="Elie Sarkis" userId="e8826e32-598d-44e8-9752-b7fdf035a46f" providerId="ADAL" clId="{F54A5366-76F5-428D-81A4-AB80D614F464}" dt="2023-01-05T08:22:26.321" v="165" actId="1076"/>
      <pc:docMkLst>
        <pc:docMk/>
      </pc:docMkLst>
      <pc:sldChg chg="modSp mod">
        <pc:chgData name="Elie Sarkis" userId="e8826e32-598d-44e8-9752-b7fdf035a46f" providerId="ADAL" clId="{F54A5366-76F5-428D-81A4-AB80D614F464}" dt="2023-01-04T13:15:55.612" v="16" actId="113"/>
        <pc:sldMkLst>
          <pc:docMk/>
          <pc:sldMk cId="751796680" sldId="256"/>
        </pc:sldMkLst>
        <pc:spChg chg="mod">
          <ac:chgData name="Elie Sarkis" userId="e8826e32-598d-44e8-9752-b7fdf035a46f" providerId="ADAL" clId="{F54A5366-76F5-428D-81A4-AB80D614F464}" dt="2023-01-04T13:15:55.612" v="16" actId="113"/>
          <ac:spMkLst>
            <pc:docMk/>
            <pc:sldMk cId="751796680" sldId="256"/>
            <ac:spMk id="5" creationId="{1A12168F-BBB5-C845-B138-AB550A9E1E14}"/>
          </ac:spMkLst>
        </pc:spChg>
      </pc:sldChg>
      <pc:sldChg chg="del">
        <pc:chgData name="Elie Sarkis" userId="e8826e32-598d-44e8-9752-b7fdf035a46f" providerId="ADAL" clId="{F54A5366-76F5-428D-81A4-AB80D614F464}" dt="2023-01-04T10:43:09.273" v="1" actId="47"/>
        <pc:sldMkLst>
          <pc:docMk/>
          <pc:sldMk cId="582129481" sldId="382"/>
        </pc:sldMkLst>
      </pc:sldChg>
      <pc:sldChg chg="del">
        <pc:chgData name="Elie Sarkis" userId="e8826e32-598d-44e8-9752-b7fdf035a46f" providerId="ADAL" clId="{F54A5366-76F5-428D-81A4-AB80D614F464}" dt="2023-01-04T10:43:09.590" v="2" actId="47"/>
        <pc:sldMkLst>
          <pc:docMk/>
          <pc:sldMk cId="3128945122" sldId="396"/>
        </pc:sldMkLst>
      </pc:sldChg>
      <pc:sldChg chg="del">
        <pc:chgData name="Elie Sarkis" userId="e8826e32-598d-44e8-9752-b7fdf035a46f" providerId="ADAL" clId="{F54A5366-76F5-428D-81A4-AB80D614F464}" dt="2023-01-04T10:43:09.927" v="3" actId="47"/>
        <pc:sldMkLst>
          <pc:docMk/>
          <pc:sldMk cId="2545775575" sldId="397"/>
        </pc:sldMkLst>
      </pc:sldChg>
      <pc:sldChg chg="modSp mod ord">
        <pc:chgData name="Elie Sarkis" userId="e8826e32-598d-44e8-9752-b7fdf035a46f" providerId="ADAL" clId="{F54A5366-76F5-428D-81A4-AB80D614F464}" dt="2023-01-05T08:22:26.321" v="165" actId="1076"/>
        <pc:sldMkLst>
          <pc:docMk/>
          <pc:sldMk cId="2251014315" sldId="794"/>
        </pc:sldMkLst>
        <pc:spChg chg="mod">
          <ac:chgData name="Elie Sarkis" userId="e8826e32-598d-44e8-9752-b7fdf035a46f" providerId="ADAL" clId="{F54A5366-76F5-428D-81A4-AB80D614F464}" dt="2023-01-05T08:22:26.321" v="165" actId="1076"/>
          <ac:spMkLst>
            <pc:docMk/>
            <pc:sldMk cId="2251014315" sldId="794"/>
            <ac:spMk id="6" creationId="{00000000-0000-0000-0000-000000000000}"/>
          </ac:spMkLst>
        </pc:spChg>
        <pc:picChg chg="mod">
          <ac:chgData name="Elie Sarkis" userId="e8826e32-598d-44e8-9752-b7fdf035a46f" providerId="ADAL" clId="{F54A5366-76F5-428D-81A4-AB80D614F464}" dt="2023-01-05T08:22:24.590" v="164" actId="1076"/>
          <ac:picMkLst>
            <pc:docMk/>
            <pc:sldMk cId="2251014315" sldId="794"/>
            <ac:picMk id="3" creationId="{4C992B02-D204-6F79-A981-BD8424F1FBFE}"/>
          </ac:picMkLst>
        </pc:picChg>
      </pc:sldChg>
      <pc:sldChg chg="modSp mod">
        <pc:chgData name="Elie Sarkis" userId="e8826e32-598d-44e8-9752-b7fdf035a46f" providerId="ADAL" clId="{F54A5366-76F5-428D-81A4-AB80D614F464}" dt="2023-01-05T06:53:58.697" v="27" actId="1038"/>
        <pc:sldMkLst>
          <pc:docMk/>
          <pc:sldMk cId="0" sldId="1317"/>
        </pc:sldMkLst>
        <pc:spChg chg="mod">
          <ac:chgData name="Elie Sarkis" userId="e8826e32-598d-44e8-9752-b7fdf035a46f" providerId="ADAL" clId="{F54A5366-76F5-428D-81A4-AB80D614F464}" dt="2023-01-05T06:53:58.697" v="27" actId="1038"/>
          <ac:spMkLst>
            <pc:docMk/>
            <pc:sldMk cId="0" sldId="1317"/>
            <ac:spMk id="7" creationId="{1FC050E3-2C5B-6A71-C4F5-5B2AA0151ABD}"/>
          </ac:spMkLst>
        </pc:spChg>
        <pc:picChg chg="mod">
          <ac:chgData name="Elie Sarkis" userId="e8826e32-598d-44e8-9752-b7fdf035a46f" providerId="ADAL" clId="{F54A5366-76F5-428D-81A4-AB80D614F464}" dt="2023-01-05T06:53:51.461" v="19" actId="1076"/>
          <ac:picMkLst>
            <pc:docMk/>
            <pc:sldMk cId="0" sldId="1317"/>
            <ac:picMk id="29700" creationId="{22C729F8-CBC2-F000-2176-2F602B5129FE}"/>
          </ac:picMkLst>
        </pc:picChg>
      </pc:sldChg>
      <pc:sldChg chg="addSp delSp modSp add mod">
        <pc:chgData name="Elie Sarkis" userId="e8826e32-598d-44e8-9752-b7fdf035a46f" providerId="ADAL" clId="{F54A5366-76F5-428D-81A4-AB80D614F464}" dt="2023-01-05T06:57:16.658" v="80" actId="114"/>
        <pc:sldMkLst>
          <pc:docMk/>
          <pc:sldMk cId="1628754355" sldId="5871"/>
        </pc:sldMkLst>
        <pc:spChg chg="add mod">
          <ac:chgData name="Elie Sarkis" userId="e8826e32-598d-44e8-9752-b7fdf035a46f" providerId="ADAL" clId="{F54A5366-76F5-428D-81A4-AB80D614F464}" dt="2023-01-05T06:57:03.507" v="74" actId="255"/>
          <ac:spMkLst>
            <pc:docMk/>
            <pc:sldMk cId="1628754355" sldId="5871"/>
            <ac:spMk id="4" creationId="{8AE29EE5-CEC6-A678-2877-BF1A515CCC28}"/>
          </ac:spMkLst>
        </pc:spChg>
        <pc:spChg chg="mod">
          <ac:chgData name="Elie Sarkis" userId="e8826e32-598d-44e8-9752-b7fdf035a46f" providerId="ADAL" clId="{F54A5366-76F5-428D-81A4-AB80D614F464}" dt="2023-01-05T06:56:22.029" v="62" actId="20577"/>
          <ac:spMkLst>
            <pc:docMk/>
            <pc:sldMk cId="1628754355" sldId="5871"/>
            <ac:spMk id="6" creationId="{00000000-0000-0000-0000-000000000000}"/>
          </ac:spMkLst>
        </pc:spChg>
        <pc:spChg chg="add mod">
          <ac:chgData name="Elie Sarkis" userId="e8826e32-598d-44e8-9752-b7fdf035a46f" providerId="ADAL" clId="{F54A5366-76F5-428D-81A4-AB80D614F464}" dt="2023-01-05T06:57:16.658" v="80" actId="114"/>
          <ac:spMkLst>
            <pc:docMk/>
            <pc:sldMk cId="1628754355" sldId="5871"/>
            <ac:spMk id="7" creationId="{3B2C40CF-12ED-33B2-D3B2-017C82261584}"/>
          </ac:spMkLst>
        </pc:spChg>
        <pc:picChg chg="del">
          <ac:chgData name="Elie Sarkis" userId="e8826e32-598d-44e8-9752-b7fdf035a46f" providerId="ADAL" clId="{F54A5366-76F5-428D-81A4-AB80D614F464}" dt="2023-01-05T06:54:13.832" v="29" actId="478"/>
          <ac:picMkLst>
            <pc:docMk/>
            <pc:sldMk cId="1628754355" sldId="5871"/>
            <ac:picMk id="3" creationId="{4C992B02-D204-6F79-A981-BD8424F1FBFE}"/>
          </ac:picMkLst>
        </pc:picChg>
      </pc:sldChg>
      <pc:sldChg chg="addSp delSp modSp add mod">
        <pc:chgData name="Elie Sarkis" userId="e8826e32-598d-44e8-9752-b7fdf035a46f" providerId="ADAL" clId="{F54A5366-76F5-428D-81A4-AB80D614F464}" dt="2023-01-05T08:20:03.166" v="135" actId="20577"/>
        <pc:sldMkLst>
          <pc:docMk/>
          <pc:sldMk cId="698821433" sldId="5872"/>
        </pc:sldMkLst>
        <pc:spChg chg="add mod">
          <ac:chgData name="Elie Sarkis" userId="e8826e32-598d-44e8-9752-b7fdf035a46f" providerId="ADAL" clId="{F54A5366-76F5-428D-81A4-AB80D614F464}" dt="2023-01-05T07:15:51.247" v="96" actId="20577"/>
          <ac:spMkLst>
            <pc:docMk/>
            <pc:sldMk cId="698821433" sldId="5872"/>
            <ac:spMk id="3" creationId="{E823DE07-87D2-A623-296E-C44F15090DCE}"/>
          </ac:spMkLst>
        </pc:spChg>
        <pc:spChg chg="del">
          <ac:chgData name="Elie Sarkis" userId="e8826e32-598d-44e8-9752-b7fdf035a46f" providerId="ADAL" clId="{F54A5366-76F5-428D-81A4-AB80D614F464}" dt="2023-01-05T07:15:10.202" v="82" actId="478"/>
          <ac:spMkLst>
            <pc:docMk/>
            <pc:sldMk cId="698821433" sldId="5872"/>
            <ac:spMk id="4" creationId="{8AE29EE5-CEC6-A678-2877-BF1A515CCC28}"/>
          </ac:spMkLst>
        </pc:spChg>
        <pc:spChg chg="mod">
          <ac:chgData name="Elie Sarkis" userId="e8826e32-598d-44e8-9752-b7fdf035a46f" providerId="ADAL" clId="{F54A5366-76F5-428D-81A4-AB80D614F464}" dt="2023-01-05T08:20:03.166" v="135" actId="20577"/>
          <ac:spMkLst>
            <pc:docMk/>
            <pc:sldMk cId="698821433" sldId="5872"/>
            <ac:spMk id="6" creationId="{00000000-0000-0000-0000-000000000000}"/>
          </ac:spMkLst>
        </pc:spChg>
        <pc:spChg chg="del">
          <ac:chgData name="Elie Sarkis" userId="e8826e32-598d-44e8-9752-b7fdf035a46f" providerId="ADAL" clId="{F54A5366-76F5-428D-81A4-AB80D614F464}" dt="2023-01-05T07:15:11.839" v="83" actId="478"/>
          <ac:spMkLst>
            <pc:docMk/>
            <pc:sldMk cId="698821433" sldId="5872"/>
            <ac:spMk id="7" creationId="{3B2C40CF-12ED-33B2-D3B2-017C82261584}"/>
          </ac:spMkLst>
        </pc:spChg>
        <pc:spChg chg="add del">
          <ac:chgData name="Elie Sarkis" userId="e8826e32-598d-44e8-9752-b7fdf035a46f" providerId="ADAL" clId="{F54A5366-76F5-428D-81A4-AB80D614F464}" dt="2023-01-05T07:15:53.167" v="97" actId="478"/>
          <ac:spMkLst>
            <pc:docMk/>
            <pc:sldMk cId="698821433" sldId="5872"/>
            <ac:spMk id="8" creationId="{4C5B36C7-1E7D-C1BC-49AE-B665D34DCED2}"/>
          </ac:spMkLst>
        </pc:spChg>
        <pc:spChg chg="add del mod">
          <ac:chgData name="Elie Sarkis" userId="e8826e32-598d-44e8-9752-b7fdf035a46f" providerId="ADAL" clId="{F54A5366-76F5-428D-81A4-AB80D614F464}" dt="2023-01-05T07:16:49.221" v="111" actId="478"/>
          <ac:spMkLst>
            <pc:docMk/>
            <pc:sldMk cId="698821433" sldId="5872"/>
            <ac:spMk id="9" creationId="{426E013D-8728-1239-B661-F41EC6D792DE}"/>
          </ac:spMkLst>
        </pc:spChg>
        <pc:spChg chg="add del mod">
          <ac:chgData name="Elie Sarkis" userId="e8826e32-598d-44e8-9752-b7fdf035a46f" providerId="ADAL" clId="{F54A5366-76F5-428D-81A4-AB80D614F464}" dt="2023-01-05T07:16:48.384" v="110" actId="478"/>
          <ac:spMkLst>
            <pc:docMk/>
            <pc:sldMk cId="698821433" sldId="5872"/>
            <ac:spMk id="10" creationId="{CC24DFE1-D534-6197-3172-06B0B2AE8EDB}"/>
          </ac:spMkLst>
        </pc:spChg>
        <pc:picChg chg="add mod modCrop">
          <ac:chgData name="Elie Sarkis" userId="e8826e32-598d-44e8-9752-b7fdf035a46f" providerId="ADAL" clId="{F54A5366-76F5-428D-81A4-AB80D614F464}" dt="2023-01-05T07:17:01.817" v="118" actId="732"/>
          <ac:picMkLst>
            <pc:docMk/>
            <pc:sldMk cId="698821433" sldId="5872"/>
            <ac:picMk id="12" creationId="{3AFB343D-3439-8646-36F5-A430820E2884}"/>
          </ac:picMkLst>
        </pc:picChg>
        <pc:picChg chg="add del mod">
          <ac:chgData name="Elie Sarkis" userId="e8826e32-598d-44e8-9752-b7fdf035a46f" providerId="ADAL" clId="{F54A5366-76F5-428D-81A4-AB80D614F464}" dt="2023-01-05T07:16:49.667" v="112" actId="478"/>
          <ac:picMkLst>
            <pc:docMk/>
            <pc:sldMk cId="698821433" sldId="5872"/>
            <ac:picMk id="1026" creationId="{5AE3AF32-3FF0-FFAB-D2FD-4C48320F5A81}"/>
          </ac:picMkLst>
        </pc:picChg>
      </pc:sldChg>
      <pc:sldChg chg="addSp delSp modSp add mod">
        <pc:chgData name="Elie Sarkis" userId="e8826e32-598d-44e8-9752-b7fdf035a46f" providerId="ADAL" clId="{F54A5366-76F5-428D-81A4-AB80D614F464}" dt="2023-01-05T08:21:44.482" v="161" actId="1076"/>
        <pc:sldMkLst>
          <pc:docMk/>
          <pc:sldMk cId="1204023841" sldId="5873"/>
        </pc:sldMkLst>
        <pc:spChg chg="del mod">
          <ac:chgData name="Elie Sarkis" userId="e8826e32-598d-44e8-9752-b7fdf035a46f" providerId="ADAL" clId="{F54A5366-76F5-428D-81A4-AB80D614F464}" dt="2023-01-05T08:20:36.606" v="144" actId="478"/>
          <ac:spMkLst>
            <pc:docMk/>
            <pc:sldMk cId="1204023841" sldId="5873"/>
            <ac:spMk id="3" creationId="{E823DE07-87D2-A623-296E-C44F15090DCE}"/>
          </ac:spMkLst>
        </pc:spChg>
        <pc:spChg chg="add mod">
          <ac:chgData name="Elie Sarkis" userId="e8826e32-598d-44e8-9752-b7fdf035a46f" providerId="ADAL" clId="{F54A5366-76F5-428D-81A4-AB80D614F464}" dt="2023-01-05T08:21:02.556" v="153" actId="20577"/>
          <ac:spMkLst>
            <pc:docMk/>
            <pc:sldMk cId="1204023841" sldId="5873"/>
            <ac:spMk id="4" creationId="{A99D2064-49DC-3B6C-429D-622AD3338951}"/>
          </ac:spMkLst>
        </pc:spChg>
        <pc:spChg chg="add del mod">
          <ac:chgData name="Elie Sarkis" userId="e8826e32-598d-44e8-9752-b7fdf035a46f" providerId="ADAL" clId="{F54A5366-76F5-428D-81A4-AB80D614F464}" dt="2023-01-05T08:21:41.940" v="159" actId="478"/>
          <ac:spMkLst>
            <pc:docMk/>
            <pc:sldMk cId="1204023841" sldId="5873"/>
            <ac:spMk id="5" creationId="{903A775C-020A-B484-DE8C-86F235987E15}"/>
          </ac:spMkLst>
        </pc:spChg>
        <pc:picChg chg="add mod">
          <ac:chgData name="Elie Sarkis" userId="e8826e32-598d-44e8-9752-b7fdf035a46f" providerId="ADAL" clId="{F54A5366-76F5-428D-81A4-AB80D614F464}" dt="2023-01-05T08:21:44.482" v="161" actId="1076"/>
          <ac:picMkLst>
            <pc:docMk/>
            <pc:sldMk cId="1204023841" sldId="5873"/>
            <ac:picMk id="8" creationId="{0C35643A-6E13-8814-1778-A755C23789B7}"/>
          </ac:picMkLst>
        </pc:picChg>
        <pc:picChg chg="del">
          <ac:chgData name="Elie Sarkis" userId="e8826e32-598d-44e8-9752-b7fdf035a46f" providerId="ADAL" clId="{F54A5366-76F5-428D-81A4-AB80D614F464}" dt="2023-01-05T08:20:45.826" v="147" actId="478"/>
          <ac:picMkLst>
            <pc:docMk/>
            <pc:sldMk cId="1204023841" sldId="5873"/>
            <ac:picMk id="12" creationId="{3AFB343D-3439-8646-36F5-A430820E2884}"/>
          </ac:picMkLst>
        </pc:picChg>
        <pc:picChg chg="add del mod">
          <ac:chgData name="Elie Sarkis" userId="e8826e32-598d-44e8-9752-b7fdf035a46f" providerId="ADAL" clId="{F54A5366-76F5-428D-81A4-AB80D614F464}" dt="2023-01-05T08:21:41.003" v="158" actId="478"/>
          <ac:picMkLst>
            <pc:docMk/>
            <pc:sldMk cId="1204023841" sldId="5873"/>
            <ac:picMk id="2050" creationId="{5EFF3C1E-C310-FD1C-F655-118248018F31}"/>
          </ac:picMkLst>
        </pc:picChg>
      </pc:sldChg>
    </pc:docChg>
  </pc:docChgLst>
  <pc:docChgLst>
    <pc:chgData name="Elie Sarkis" userId="e8826e32-598d-44e8-9752-b7fdf035a46f" providerId="ADAL" clId="{1C265AAD-5F3C-453E-B1C1-9853400903DD}"/>
    <pc:docChg chg="custSel addSld delSld modSld sldOrd">
      <pc:chgData name="Elie Sarkis" userId="e8826e32-598d-44e8-9752-b7fdf035a46f" providerId="ADAL" clId="{1C265AAD-5F3C-453E-B1C1-9853400903DD}" dt="2022-09-23T06:50:57.011" v="382" actId="20577"/>
      <pc:docMkLst>
        <pc:docMk/>
      </pc:docMkLst>
      <pc:sldChg chg="delSp modSp mod modClrScheme chgLayout">
        <pc:chgData name="Elie Sarkis" userId="e8826e32-598d-44e8-9752-b7fdf035a46f" providerId="ADAL" clId="{1C265AAD-5F3C-453E-B1C1-9853400903DD}" dt="2022-09-23T06:50:57.011" v="382" actId="20577"/>
        <pc:sldMkLst>
          <pc:docMk/>
          <pc:sldMk cId="751796680" sldId="256"/>
        </pc:sldMkLst>
        <pc:spChg chg="del mod">
          <ac:chgData name="Elie Sarkis" userId="e8826e32-598d-44e8-9752-b7fdf035a46f" providerId="ADAL" clId="{1C265AAD-5F3C-453E-B1C1-9853400903DD}" dt="2022-09-23T06:39:17.911" v="13" actId="478"/>
          <ac:spMkLst>
            <pc:docMk/>
            <pc:sldMk cId="751796680" sldId="256"/>
            <ac:spMk id="4" creationId="{3A83DEC4-160F-8D45-928E-F904BB56AA6E}"/>
          </ac:spMkLst>
        </pc:spChg>
        <pc:spChg chg="mod">
          <ac:chgData name="Elie Sarkis" userId="e8826e32-598d-44e8-9752-b7fdf035a46f" providerId="ADAL" clId="{1C265AAD-5F3C-453E-B1C1-9853400903DD}" dt="2022-09-23T06:50:57.011" v="382" actId="20577"/>
          <ac:spMkLst>
            <pc:docMk/>
            <pc:sldMk cId="751796680" sldId="256"/>
            <ac:spMk id="5" creationId="{1A12168F-BBB5-C845-B138-AB550A9E1E14}"/>
          </ac:spMkLst>
        </pc:spChg>
      </pc:sldChg>
      <pc:sldChg chg="modSp ord">
        <pc:chgData name="Elie Sarkis" userId="e8826e32-598d-44e8-9752-b7fdf035a46f" providerId="ADAL" clId="{1C265AAD-5F3C-453E-B1C1-9853400903DD}" dt="2022-09-23T06:48:06.197" v="368"/>
        <pc:sldMkLst>
          <pc:docMk/>
          <pc:sldMk cId="3288824265" sldId="373"/>
        </pc:sldMkLst>
        <pc:picChg chg="mod">
          <ac:chgData name="Elie Sarkis" userId="e8826e32-598d-44e8-9752-b7fdf035a46f" providerId="ADAL" clId="{1C265AAD-5F3C-453E-B1C1-9853400903DD}" dt="2022-09-23T06:43:34.288" v="136" actId="1076"/>
          <ac:picMkLst>
            <pc:docMk/>
            <pc:sldMk cId="3288824265" sldId="373"/>
            <ac:picMk id="14338" creationId="{00000000-0000-0000-0000-000000000000}"/>
          </ac:picMkLst>
        </pc:picChg>
      </pc:sldChg>
      <pc:sldChg chg="modSp add mod modClrScheme chgLayout">
        <pc:chgData name="Elie Sarkis" userId="e8826e32-598d-44e8-9752-b7fdf035a46f" providerId="ADAL" clId="{1C265AAD-5F3C-453E-B1C1-9853400903DD}" dt="2022-09-23T06:44:38.924" v="145" actId="1076"/>
        <pc:sldMkLst>
          <pc:docMk/>
          <pc:sldMk cId="582129481" sldId="382"/>
        </pc:sldMkLst>
        <pc:spChg chg="mod">
          <ac:chgData name="Elie Sarkis" userId="e8826e32-598d-44e8-9752-b7fdf035a46f" providerId="ADAL" clId="{1C265AAD-5F3C-453E-B1C1-9853400903DD}" dt="2022-09-23T06:44:26.742" v="141" actId="207"/>
          <ac:spMkLst>
            <pc:docMk/>
            <pc:sldMk cId="582129481" sldId="382"/>
            <ac:spMk id="4" creationId="{00000000-0000-0000-0000-000000000000}"/>
          </ac:spMkLst>
        </pc:spChg>
        <pc:spChg chg="mod">
          <ac:chgData name="Elie Sarkis" userId="e8826e32-598d-44e8-9752-b7fdf035a46f" providerId="ADAL" clId="{1C265AAD-5F3C-453E-B1C1-9853400903DD}" dt="2022-09-23T06:44:38.924" v="145" actId="1076"/>
          <ac:spMkLst>
            <pc:docMk/>
            <pc:sldMk cId="582129481" sldId="382"/>
            <ac:spMk id="5" creationId="{00000000-0000-0000-0000-000000000000}"/>
          </ac:spMkLst>
        </pc:spChg>
        <pc:spChg chg="mod">
          <ac:chgData name="Elie Sarkis" userId="e8826e32-598d-44e8-9752-b7fdf035a46f" providerId="ADAL" clId="{1C265AAD-5F3C-453E-B1C1-9853400903DD}" dt="2022-09-23T06:44:26.742" v="141" actId="207"/>
          <ac:spMkLst>
            <pc:docMk/>
            <pc:sldMk cId="582129481" sldId="382"/>
            <ac:spMk id="6" creationId="{00000000-0000-0000-0000-000000000000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5:47.293" v="310" actId="1076"/>
        <pc:sldMkLst>
          <pc:docMk/>
          <pc:sldMk cId="3128945122" sldId="396"/>
        </pc:sldMkLst>
        <pc:spChg chg="mod">
          <ac:chgData name="Elie Sarkis" userId="e8826e32-598d-44e8-9752-b7fdf035a46f" providerId="ADAL" clId="{1C265AAD-5F3C-453E-B1C1-9853400903DD}" dt="2022-09-23T06:45:47.293" v="310" actId="1076"/>
          <ac:spMkLst>
            <pc:docMk/>
            <pc:sldMk cId="3128945122" sldId="396"/>
            <ac:spMk id="2" creationId="{00000000-0000-0000-0000-000000000000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7:53.697" v="366" actId="20577"/>
        <pc:sldMkLst>
          <pc:docMk/>
          <pc:sldMk cId="2545775575" sldId="397"/>
        </pc:sldMkLst>
        <pc:spChg chg="mod">
          <ac:chgData name="Elie Sarkis" userId="e8826e32-598d-44e8-9752-b7fdf035a46f" providerId="ADAL" clId="{1C265AAD-5F3C-453E-B1C1-9853400903DD}" dt="2022-09-23T06:47:53.697" v="366" actId="20577"/>
          <ac:spMkLst>
            <pc:docMk/>
            <pc:sldMk cId="2545775575" sldId="397"/>
            <ac:spMk id="2" creationId="{00000000-0000-0000-0000-000000000000}"/>
          </ac:spMkLst>
        </pc:spChg>
      </pc:sldChg>
      <pc:sldChg chg="delSp mod">
        <pc:chgData name="Elie Sarkis" userId="e8826e32-598d-44e8-9752-b7fdf035a46f" providerId="ADAL" clId="{1C265AAD-5F3C-453E-B1C1-9853400903DD}" dt="2022-09-23T06:48:41.812" v="376" actId="478"/>
        <pc:sldMkLst>
          <pc:docMk/>
          <pc:sldMk cId="2088236400" sldId="897"/>
        </pc:sldMkLst>
        <pc:spChg chg="del">
          <ac:chgData name="Elie Sarkis" userId="e8826e32-598d-44e8-9752-b7fdf035a46f" providerId="ADAL" clId="{1C265AAD-5F3C-453E-B1C1-9853400903DD}" dt="2022-09-23T06:48:41.812" v="376" actId="478"/>
          <ac:spMkLst>
            <pc:docMk/>
            <pc:sldMk cId="2088236400" sldId="897"/>
            <ac:spMk id="7" creationId="{A5CECE6E-165D-4EF4-88CA-AAB04ED58B22}"/>
          </ac:spMkLst>
        </pc:spChg>
      </pc:sldChg>
      <pc:sldChg chg="modSp del mod modClrScheme chgLayout">
        <pc:chgData name="Elie Sarkis" userId="e8826e32-598d-44e8-9752-b7fdf035a46f" providerId="ADAL" clId="{1C265AAD-5F3C-453E-B1C1-9853400903DD}" dt="2022-09-23T06:41:53.855" v="86" actId="47"/>
        <pc:sldMkLst>
          <pc:docMk/>
          <pc:sldMk cId="4293549054" sldId="898"/>
        </pc:sldMkLst>
        <pc:spChg chg="mod ord">
          <ac:chgData name="Elie Sarkis" userId="e8826e32-598d-44e8-9752-b7fdf035a46f" providerId="ADAL" clId="{1C265AAD-5F3C-453E-B1C1-9853400903DD}" dt="2022-09-23T06:40:17.318" v="71" actId="113"/>
          <ac:spMkLst>
            <pc:docMk/>
            <pc:sldMk cId="4293549054" sldId="898"/>
            <ac:spMk id="7" creationId="{A5CECE6E-165D-4EF4-88CA-AAB04ED58B22}"/>
          </ac:spMkLst>
        </pc:spChg>
        <pc:picChg chg="mod">
          <ac:chgData name="Elie Sarkis" userId="e8826e32-598d-44e8-9752-b7fdf035a46f" providerId="ADAL" clId="{1C265AAD-5F3C-453E-B1C1-9853400903DD}" dt="2022-09-23T06:40:00.070" v="65" actId="1076"/>
          <ac:picMkLst>
            <pc:docMk/>
            <pc:sldMk cId="4293549054" sldId="898"/>
            <ac:picMk id="6" creationId="{1BB15DF8-306E-4209-939D-194B49FFEDE0}"/>
          </ac:picMkLst>
        </pc:picChg>
        <pc:picChg chg="mod">
          <ac:chgData name="Elie Sarkis" userId="e8826e32-598d-44e8-9752-b7fdf035a46f" providerId="ADAL" clId="{1C265AAD-5F3C-453E-B1C1-9853400903DD}" dt="2022-09-23T06:40:00.070" v="65" actId="1076"/>
          <ac:picMkLst>
            <pc:docMk/>
            <pc:sldMk cId="4293549054" sldId="898"/>
            <ac:picMk id="9" creationId="{9F678F7F-7FD9-4D2D-B19F-59621DEC9001}"/>
          </ac:picMkLst>
        </pc:picChg>
        <pc:picChg chg="mod modCrop">
          <ac:chgData name="Elie Sarkis" userId="e8826e32-598d-44e8-9752-b7fdf035a46f" providerId="ADAL" clId="{1C265AAD-5F3C-453E-B1C1-9853400903DD}" dt="2022-09-23T06:40:35.655" v="73" actId="14100"/>
          <ac:picMkLst>
            <pc:docMk/>
            <pc:sldMk cId="4293549054" sldId="898"/>
            <ac:picMk id="13" creationId="{FDE26C8A-45C5-4C69-A2E2-C50B40837BFD}"/>
          </ac:picMkLst>
        </pc:picChg>
      </pc:sldChg>
      <pc:sldChg chg="addSp delSp modSp mod modClrScheme chgLayout">
        <pc:chgData name="Elie Sarkis" userId="e8826e32-598d-44e8-9752-b7fdf035a46f" providerId="ADAL" clId="{1C265AAD-5F3C-453E-B1C1-9853400903DD}" dt="2022-09-23T06:48:16.084" v="369" actId="255"/>
        <pc:sldMkLst>
          <pc:docMk/>
          <pc:sldMk cId="3985694819" sldId="899"/>
        </pc:sldMkLst>
        <pc:spChg chg="mod ord">
          <ac:chgData name="Elie Sarkis" userId="e8826e32-598d-44e8-9752-b7fdf035a46f" providerId="ADAL" clId="{1C265AAD-5F3C-453E-B1C1-9853400903DD}" dt="2022-09-23T06:48:16.084" v="369" actId="255"/>
          <ac:spMkLst>
            <pc:docMk/>
            <pc:sldMk cId="3985694819" sldId="899"/>
            <ac:spMk id="7" creationId="{A5CECE6E-165D-4EF4-88CA-AAB04ED58B22}"/>
          </ac:spMkLst>
        </pc:spChg>
        <pc:spChg chg="mod">
          <ac:chgData name="Elie Sarkis" userId="e8826e32-598d-44e8-9752-b7fdf035a46f" providerId="ADAL" clId="{1C265AAD-5F3C-453E-B1C1-9853400903DD}" dt="2022-09-23T06:42:32.020" v="103" actId="20577"/>
          <ac:spMkLst>
            <pc:docMk/>
            <pc:sldMk cId="3985694819" sldId="899"/>
            <ac:spMk id="8" creationId="{C6E80C40-280F-44C8-9BA3-82B6DECCE8EB}"/>
          </ac:spMkLst>
        </pc:spChg>
        <pc:picChg chg="add mod">
          <ac:chgData name="Elie Sarkis" userId="e8826e32-598d-44e8-9752-b7fdf035a46f" providerId="ADAL" clId="{1C265AAD-5F3C-453E-B1C1-9853400903DD}" dt="2022-09-23T06:42:21.692" v="96" actId="1076"/>
          <ac:picMkLst>
            <pc:docMk/>
            <pc:sldMk cId="3985694819" sldId="899"/>
            <ac:picMk id="2" creationId="{92A342CD-079D-B0F6-2938-B83177B9E3A1}"/>
          </ac:picMkLst>
        </pc:picChg>
        <pc:picChg chg="del">
          <ac:chgData name="Elie Sarkis" userId="e8826e32-598d-44e8-9752-b7fdf035a46f" providerId="ADAL" clId="{1C265AAD-5F3C-453E-B1C1-9853400903DD}" dt="2022-09-23T06:40:47.666" v="75" actId="478"/>
          <ac:picMkLst>
            <pc:docMk/>
            <pc:sldMk cId="3985694819" sldId="899"/>
            <ac:picMk id="5" creationId="{F5C3692A-FE84-473A-B970-63EAF6D24843}"/>
          </ac:picMkLst>
        </pc:picChg>
      </pc:sldChg>
      <pc:sldChg chg="del mod modClrScheme chgLayout">
        <pc:chgData name="Elie Sarkis" userId="e8826e32-598d-44e8-9752-b7fdf035a46f" providerId="ADAL" clId="{1C265AAD-5F3C-453E-B1C1-9853400903DD}" dt="2022-09-23T06:40:44.789" v="74" actId="47"/>
        <pc:sldMkLst>
          <pc:docMk/>
          <pc:sldMk cId="2219647170" sldId="900"/>
        </pc:sldMkLst>
      </pc:sldChg>
      <pc:sldChg chg="modSp add mod modClrScheme chgLayout">
        <pc:chgData name="Elie Sarkis" userId="e8826e32-598d-44e8-9752-b7fdf035a46f" providerId="ADAL" clId="{1C265AAD-5F3C-453E-B1C1-9853400903DD}" dt="2022-09-23T06:47:26.980" v="365" actId="20577"/>
        <pc:sldMkLst>
          <pc:docMk/>
          <pc:sldMk cId="2478315847" sldId="990"/>
        </pc:sldMkLst>
        <pc:spChg chg="mod">
          <ac:chgData name="Elie Sarkis" userId="e8826e32-598d-44e8-9752-b7fdf035a46f" providerId="ADAL" clId="{1C265AAD-5F3C-453E-B1C1-9853400903DD}" dt="2022-09-23T06:47:26.980" v="365" actId="20577"/>
          <ac:spMkLst>
            <pc:docMk/>
            <pc:sldMk cId="2478315847" sldId="990"/>
            <ac:spMk id="5" creationId="{32D5397E-50B3-4C0F-9CDD-45C667590857}"/>
          </ac:spMkLst>
        </pc:spChg>
        <pc:spChg chg="mod">
          <ac:chgData name="Elie Sarkis" userId="e8826e32-598d-44e8-9752-b7fdf035a46f" providerId="ADAL" clId="{1C265AAD-5F3C-453E-B1C1-9853400903DD}" dt="2022-09-23T06:47:06.121" v="333" actId="1076"/>
          <ac:spMkLst>
            <pc:docMk/>
            <pc:sldMk cId="2478315847" sldId="990"/>
            <ac:spMk id="7" creationId="{FB65F994-414F-4275-BDD5-0A776D01C9B1}"/>
          </ac:spMkLst>
        </pc:spChg>
        <pc:spChg chg="mod">
          <ac:chgData name="Elie Sarkis" userId="e8826e32-598d-44e8-9752-b7fdf035a46f" providerId="ADAL" clId="{1C265AAD-5F3C-453E-B1C1-9853400903DD}" dt="2022-09-23T06:46:55.160" v="329" actId="255"/>
          <ac:spMkLst>
            <pc:docMk/>
            <pc:sldMk cId="2478315847" sldId="990"/>
            <ac:spMk id="10" creationId="{C1DE3670-6EE9-4EAF-A892-481F1D3AD18F}"/>
          </ac:spMkLst>
        </pc:spChg>
      </pc:sldChg>
      <pc:sldChg chg="modSp add mod modClrScheme chgLayout">
        <pc:chgData name="Elie Sarkis" userId="e8826e32-598d-44e8-9752-b7fdf035a46f" providerId="ADAL" clId="{1C265AAD-5F3C-453E-B1C1-9853400903DD}" dt="2022-09-23T06:46:39.408" v="326" actId="1076"/>
        <pc:sldMkLst>
          <pc:docMk/>
          <pc:sldMk cId="1826301479" sldId="1314"/>
        </pc:sldMkLst>
        <pc:spChg chg="mod">
          <ac:chgData name="Elie Sarkis" userId="e8826e32-598d-44e8-9752-b7fdf035a46f" providerId="ADAL" clId="{1C265AAD-5F3C-453E-B1C1-9853400903DD}" dt="2022-09-23T06:46:28.852" v="322" actId="1076"/>
          <ac:spMkLst>
            <pc:docMk/>
            <pc:sldMk cId="1826301479" sldId="1314"/>
            <ac:spMk id="5" creationId="{E5965115-C989-41BA-88E1-78735B5006FC}"/>
          </ac:spMkLst>
        </pc:spChg>
        <pc:spChg chg="mod">
          <ac:chgData name="Elie Sarkis" userId="e8826e32-598d-44e8-9752-b7fdf035a46f" providerId="ADAL" clId="{1C265AAD-5F3C-453E-B1C1-9853400903DD}" dt="2022-09-23T06:46:39.408" v="326" actId="1076"/>
          <ac:spMkLst>
            <pc:docMk/>
            <pc:sldMk cId="1826301479" sldId="1314"/>
            <ac:spMk id="7" creationId="{FB65F994-414F-4275-BDD5-0A776D01C9B1}"/>
          </ac:spMkLst>
        </pc:spChg>
      </pc:sldChg>
      <pc:sldChg chg="modSp add mod">
        <pc:chgData name="Elie Sarkis" userId="e8826e32-598d-44e8-9752-b7fdf035a46f" providerId="ADAL" clId="{1C265AAD-5F3C-453E-B1C1-9853400903DD}" dt="2022-09-23T06:48:21.675" v="370" actId="255"/>
        <pc:sldMkLst>
          <pc:docMk/>
          <pc:sldMk cId="2299398627" sldId="1321"/>
        </pc:sldMkLst>
        <pc:spChg chg="mod">
          <ac:chgData name="Elie Sarkis" userId="e8826e32-598d-44e8-9752-b7fdf035a46f" providerId="ADAL" clId="{1C265AAD-5F3C-453E-B1C1-9853400903DD}" dt="2022-09-23T06:48:21.675" v="370" actId="255"/>
          <ac:spMkLst>
            <pc:docMk/>
            <pc:sldMk cId="2299398627" sldId="1321"/>
            <ac:spMk id="8" creationId="{DDE558A5-753A-2C2B-CF17-7C22C4499EF1}"/>
          </ac:spMkLst>
        </pc:spChg>
      </pc:sldChg>
      <pc:sldChg chg="modSp add mod">
        <pc:chgData name="Elie Sarkis" userId="e8826e32-598d-44e8-9752-b7fdf035a46f" providerId="ADAL" clId="{1C265AAD-5F3C-453E-B1C1-9853400903DD}" dt="2022-09-23T06:48:37.304" v="375" actId="1076"/>
        <pc:sldMkLst>
          <pc:docMk/>
          <pc:sldMk cId="1558776685" sldId="1324"/>
        </pc:sldMkLst>
        <pc:spChg chg="mod">
          <ac:chgData name="Elie Sarkis" userId="e8826e32-598d-44e8-9752-b7fdf035a46f" providerId="ADAL" clId="{1C265AAD-5F3C-453E-B1C1-9853400903DD}" dt="2022-09-23T06:48:37.304" v="375" actId="1076"/>
          <ac:spMkLst>
            <pc:docMk/>
            <pc:sldMk cId="1558776685" sldId="1324"/>
            <ac:spMk id="4" creationId="{06EE6DC6-0DE5-C22E-F0B1-0BC26F4E5400}"/>
          </ac:spMkLst>
        </pc:spChg>
      </pc:sldChg>
      <pc:sldChg chg="modSp add mod">
        <pc:chgData name="Elie Sarkis" userId="e8826e32-598d-44e8-9752-b7fdf035a46f" providerId="ADAL" clId="{1C265AAD-5F3C-453E-B1C1-9853400903DD}" dt="2022-09-23T06:39:42.868" v="63" actId="1076"/>
        <pc:sldMkLst>
          <pc:docMk/>
          <pc:sldMk cId="3456510750" sldId="1325"/>
        </pc:sldMkLst>
        <pc:picChg chg="mod">
          <ac:chgData name="Elie Sarkis" userId="e8826e32-598d-44e8-9752-b7fdf035a46f" providerId="ADAL" clId="{1C265AAD-5F3C-453E-B1C1-9853400903DD}" dt="2022-09-23T06:39:42.868" v="63" actId="1076"/>
          <ac:picMkLst>
            <pc:docMk/>
            <pc:sldMk cId="3456510750" sldId="1325"/>
            <ac:picMk id="5" creationId="{EAC9F47B-87C1-BBEB-C529-807AB77826B2}"/>
          </ac:picMkLst>
        </pc:picChg>
      </pc:sldChg>
      <pc:sldChg chg="modSp add mod">
        <pc:chgData name="Elie Sarkis" userId="e8826e32-598d-44e8-9752-b7fdf035a46f" providerId="ADAL" clId="{1C265AAD-5F3C-453E-B1C1-9853400903DD}" dt="2022-09-23T06:48:28.298" v="372" actId="14100"/>
        <pc:sldMkLst>
          <pc:docMk/>
          <pc:sldMk cId="3810041088" sldId="1326"/>
        </pc:sldMkLst>
        <pc:spChg chg="mod">
          <ac:chgData name="Elie Sarkis" userId="e8826e32-598d-44e8-9752-b7fdf035a46f" providerId="ADAL" clId="{1C265AAD-5F3C-453E-B1C1-9853400903DD}" dt="2022-09-23T06:48:28.298" v="372" actId="14100"/>
          <ac:spMkLst>
            <pc:docMk/>
            <pc:sldMk cId="3810041088" sldId="1326"/>
            <ac:spMk id="4" creationId="{D2AD74CD-A540-CB97-53CD-42F879E738F6}"/>
          </ac:spMkLst>
        </pc:spChg>
      </pc:sldChg>
      <pc:sldChg chg="addSp delSp modSp add mod">
        <pc:chgData name="Elie Sarkis" userId="e8826e32-598d-44e8-9752-b7fdf035a46f" providerId="ADAL" clId="{1C265AAD-5F3C-453E-B1C1-9853400903DD}" dt="2022-09-23T06:41:24.038" v="85" actId="14100"/>
        <pc:sldMkLst>
          <pc:docMk/>
          <pc:sldMk cId="2688871144" sldId="1327"/>
        </pc:sldMkLst>
        <pc:spChg chg="del">
          <ac:chgData name="Elie Sarkis" userId="e8826e32-598d-44e8-9752-b7fdf035a46f" providerId="ADAL" clId="{1C265AAD-5F3C-453E-B1C1-9853400903DD}" dt="2022-09-23T06:41:12.762" v="80" actId="478"/>
          <ac:spMkLst>
            <pc:docMk/>
            <pc:sldMk cId="2688871144" sldId="1327"/>
            <ac:spMk id="2" creationId="{947C760E-57F9-443D-BACC-13F35A5FA62E}"/>
          </ac:spMkLst>
        </pc:spChg>
        <pc:spChg chg="add mod">
          <ac:chgData name="Elie Sarkis" userId="e8826e32-598d-44e8-9752-b7fdf035a46f" providerId="ADAL" clId="{1C265AAD-5F3C-453E-B1C1-9853400903DD}" dt="2022-09-23T06:41:14.536" v="82"/>
          <ac:spMkLst>
            <pc:docMk/>
            <pc:sldMk cId="2688871144" sldId="1327"/>
            <ac:spMk id="4" creationId="{C2120A0E-2F47-86D7-80E9-2FE0FC7FBC45}"/>
          </ac:spMkLst>
        </pc:spChg>
        <pc:spChg chg="mod">
          <ac:chgData name="Elie Sarkis" userId="e8826e32-598d-44e8-9752-b7fdf035a46f" providerId="ADAL" clId="{1C265AAD-5F3C-453E-B1C1-9853400903DD}" dt="2022-09-23T06:41:17.112" v="83" actId="1076"/>
          <ac:spMkLst>
            <pc:docMk/>
            <pc:sldMk cId="2688871144" sldId="1327"/>
            <ac:spMk id="7" creationId="{A5CECE6E-165D-4EF4-88CA-AAB04ED58B22}"/>
          </ac:spMkLst>
        </pc:spChg>
        <pc:spChg chg="add mod">
          <ac:chgData name="Elie Sarkis" userId="e8826e32-598d-44e8-9752-b7fdf035a46f" providerId="ADAL" clId="{1C265AAD-5F3C-453E-B1C1-9853400903DD}" dt="2022-09-23T06:41:14.536" v="82"/>
          <ac:spMkLst>
            <pc:docMk/>
            <pc:sldMk cId="2688871144" sldId="1327"/>
            <ac:spMk id="8" creationId="{65088500-B93B-6DB4-812B-2DB2A87FE092}"/>
          </ac:spMkLst>
        </pc:sp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3" creationId="{4500FD84-771F-38ED-8864-A8C109864414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5" creationId="{35E51026-7A06-7048-274C-F853FFFC41D9}"/>
          </ac:picMkLst>
        </pc:picChg>
        <pc:picChg chg="del">
          <ac:chgData name="Elie Sarkis" userId="e8826e32-598d-44e8-9752-b7fdf035a46f" providerId="ADAL" clId="{1C265AAD-5F3C-453E-B1C1-9853400903DD}" dt="2022-09-23T06:41:11.039" v="77" actId="478"/>
          <ac:picMkLst>
            <pc:docMk/>
            <pc:sldMk cId="2688871144" sldId="1327"/>
            <ac:picMk id="6" creationId="{1BB15DF8-306E-4209-939D-194B49FFEDE0}"/>
          </ac:picMkLst>
        </pc:picChg>
        <pc:picChg chg="del">
          <ac:chgData name="Elie Sarkis" userId="e8826e32-598d-44e8-9752-b7fdf035a46f" providerId="ADAL" clId="{1C265AAD-5F3C-453E-B1C1-9853400903DD}" dt="2022-09-23T06:41:11.471" v="78" actId="478"/>
          <ac:picMkLst>
            <pc:docMk/>
            <pc:sldMk cId="2688871144" sldId="1327"/>
            <ac:picMk id="9" creationId="{9F678F7F-7FD9-4D2D-B19F-59621DEC9001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10" creationId="{E4CA1A7B-E300-B034-4519-AEF11AB98512}"/>
          </ac:picMkLst>
        </pc:picChg>
        <pc:picChg chg="del">
          <ac:chgData name="Elie Sarkis" userId="e8826e32-598d-44e8-9752-b7fdf035a46f" providerId="ADAL" clId="{1C265AAD-5F3C-453E-B1C1-9853400903DD}" dt="2022-09-23T06:41:13.254" v="81" actId="478"/>
          <ac:picMkLst>
            <pc:docMk/>
            <pc:sldMk cId="2688871144" sldId="1327"/>
            <ac:picMk id="11" creationId="{1CDB50AC-5CCA-42BB-AC4E-12E689BB6EBE}"/>
          </ac:picMkLst>
        </pc:picChg>
        <pc:picChg chg="add mod">
          <ac:chgData name="Elie Sarkis" userId="e8826e32-598d-44e8-9752-b7fdf035a46f" providerId="ADAL" clId="{1C265AAD-5F3C-453E-B1C1-9853400903DD}" dt="2022-09-23T06:41:14.536" v="82"/>
          <ac:picMkLst>
            <pc:docMk/>
            <pc:sldMk cId="2688871144" sldId="1327"/>
            <ac:picMk id="12" creationId="{A17F4E4E-D854-B85C-00D4-742506C51C41}"/>
          </ac:picMkLst>
        </pc:picChg>
        <pc:picChg chg="del">
          <ac:chgData name="Elie Sarkis" userId="e8826e32-598d-44e8-9752-b7fdf035a46f" providerId="ADAL" clId="{1C265AAD-5F3C-453E-B1C1-9853400903DD}" dt="2022-09-23T06:41:11.831" v="79" actId="478"/>
          <ac:picMkLst>
            <pc:docMk/>
            <pc:sldMk cId="2688871144" sldId="1327"/>
            <ac:picMk id="13" creationId="{FDE26C8A-45C5-4C69-A2E2-C50B40837BFD}"/>
          </ac:picMkLst>
        </pc:picChg>
        <pc:picChg chg="add mod">
          <ac:chgData name="Elie Sarkis" userId="e8826e32-598d-44e8-9752-b7fdf035a46f" providerId="ADAL" clId="{1C265AAD-5F3C-453E-B1C1-9853400903DD}" dt="2022-09-23T06:41:24.038" v="85" actId="14100"/>
          <ac:picMkLst>
            <pc:docMk/>
            <pc:sldMk cId="2688871144" sldId="1327"/>
            <ac:picMk id="14" creationId="{A72FE31B-E838-E3E0-68B5-87C90DCAF74E}"/>
          </ac:picMkLst>
        </pc:picChg>
      </pc:sldChg>
      <pc:sldChg chg="addSp modSp new mod">
        <pc:chgData name="Elie Sarkis" userId="e8826e32-598d-44e8-9752-b7fdf035a46f" providerId="ADAL" clId="{1C265AAD-5F3C-453E-B1C1-9853400903DD}" dt="2022-09-23T06:43:16.048" v="135" actId="1076"/>
        <pc:sldMkLst>
          <pc:docMk/>
          <pc:sldMk cId="1692540853" sldId="1328"/>
        </pc:sldMkLst>
        <pc:spChg chg="add mod">
          <ac:chgData name="Elie Sarkis" userId="e8826e32-598d-44e8-9752-b7fdf035a46f" providerId="ADAL" clId="{1C265AAD-5F3C-453E-B1C1-9853400903DD}" dt="2022-09-23T06:43:15.211" v="134" actId="1076"/>
          <ac:spMkLst>
            <pc:docMk/>
            <pc:sldMk cId="1692540853" sldId="1328"/>
            <ac:spMk id="3" creationId="{317C124B-5189-62FD-09A0-1C92BA683EE3}"/>
          </ac:spMkLst>
        </pc:spChg>
        <pc:picChg chg="add mod">
          <ac:chgData name="Elie Sarkis" userId="e8826e32-598d-44e8-9752-b7fdf035a46f" providerId="ADAL" clId="{1C265AAD-5F3C-453E-B1C1-9853400903DD}" dt="2022-09-23T06:43:16.048" v="135" actId="1076"/>
          <ac:picMkLst>
            <pc:docMk/>
            <pc:sldMk cId="1692540853" sldId="1328"/>
            <ac:picMk id="2" creationId="{D9CB4FD3-5AF7-1D73-D264-CED0E02CFBA6}"/>
          </ac:picMkLst>
        </pc:picChg>
      </pc:sldChg>
      <pc:sldChg chg="add">
        <pc:chgData name="Elie Sarkis" userId="e8826e32-598d-44e8-9752-b7fdf035a46f" providerId="ADAL" clId="{1C265AAD-5F3C-453E-B1C1-9853400903DD}" dt="2022-09-23T06:50:42.672" v="377"/>
        <pc:sldMkLst>
          <pc:docMk/>
          <pc:sldMk cId="2101457434" sldId="587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180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143005"/>
            <a:ext cx="6604000" cy="147002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9487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3305A4ED-7923-4C52-87D8-E3361671152F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/>
          <a:p>
            <a:fld id="{1C1B7B7C-3FE7-4461-9E2D-3C20BA8BF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589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143005"/>
            <a:ext cx="6604000" cy="147002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6570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143005"/>
            <a:ext cx="6604000" cy="147002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673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5300" y="1143005"/>
            <a:ext cx="6604000" cy="1470025"/>
          </a:xfrm>
          <a:prstGeom prst="rect">
            <a:avLst/>
          </a:prstGeo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217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069523" y="2687842"/>
            <a:ext cx="61042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Facebook</a:t>
            </a:r>
          </a:p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and Instagram Ads | Part 3</a:t>
            </a:r>
          </a:p>
          <a:p>
            <a:r>
              <a:rPr lang="en-US" sz="3200" dirty="0">
                <a:solidFill>
                  <a:srgbClr val="921824"/>
                </a:solidFill>
                <a:latin typeface="Georgia" panose="02040502050405020303" pitchFamily="18" charset="0"/>
              </a:rPr>
              <a:t>Remarketing</a:t>
            </a:r>
            <a:endParaRPr lang="en" sz="3200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796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577272" y="641131"/>
            <a:ext cx="66617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base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1. Automatically Pause Ads with High Frequency</a:t>
            </a:r>
          </a:p>
        </p:txBody>
      </p:sp>
      <p:pic>
        <p:nvPicPr>
          <p:cNvPr id="1026" name="Picture 2" descr="Where to find Automated Rules in The Facebook Ads Manager menu">
            <a:extLst>
              <a:ext uri="{FF2B5EF4-FFF2-40B4-BE49-F238E27FC236}">
                <a16:creationId xmlns:a16="http://schemas.microsoft.com/office/drawing/2014/main" id="{C0D05E22-EC94-4203-AB41-71110795F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524000"/>
            <a:ext cx="7993430" cy="335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Facebook automated rule to dtop high frequency ads">
            <a:extLst>
              <a:ext uri="{FF2B5EF4-FFF2-40B4-BE49-F238E27FC236}">
                <a16:creationId xmlns:a16="http://schemas.microsoft.com/office/drawing/2014/main" id="{437C5ADD-D43A-4AD7-9479-E38810255F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8136" y="1442538"/>
            <a:ext cx="4784725" cy="48058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80453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734292" y="762000"/>
            <a:ext cx="66617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2. Create New Audiences and 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623DE5-C38F-4EA4-96CA-936923973059}"/>
              </a:ext>
            </a:extLst>
          </p:cNvPr>
          <p:cNvSpPr txBox="1"/>
          <p:nvPr/>
        </p:nvSpPr>
        <p:spPr>
          <a:xfrm>
            <a:off x="990600" y="1926480"/>
            <a:ext cx="45720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hange image background colo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hange CTA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hange text and/or headlin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e new images/vide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89D853-2013-49CA-BF4D-BD330466186C}"/>
              </a:ext>
            </a:extLst>
          </p:cNvPr>
          <p:cNvSpPr txBox="1"/>
          <p:nvPr/>
        </p:nvSpPr>
        <p:spPr>
          <a:xfrm>
            <a:off x="990600" y="3733800"/>
            <a:ext cx="70104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lookalikes based on your key conversion metrics (purchase, time spent, engagement, etc.)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audiences based on behavio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lookalikes from by uploading customers or syncing your CR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29DAC6E-9481-431D-A643-CF1D180BAF0C}"/>
              </a:ext>
            </a:extLst>
          </p:cNvPr>
          <p:cNvSpPr/>
          <p:nvPr/>
        </p:nvSpPr>
        <p:spPr>
          <a:xfrm>
            <a:off x="734291" y="3356790"/>
            <a:ext cx="66617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est new audiences</a:t>
            </a:r>
          </a:p>
          <a:p>
            <a:pPr algn="l" fontAlgn="base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4CC087-EE47-4B6A-BB30-D0CD61AAFAB4}"/>
              </a:ext>
            </a:extLst>
          </p:cNvPr>
          <p:cNvSpPr/>
          <p:nvPr/>
        </p:nvSpPr>
        <p:spPr>
          <a:xfrm>
            <a:off x="734290" y="1412285"/>
            <a:ext cx="6661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pdate ad creatives in a quick way</a:t>
            </a:r>
          </a:p>
        </p:txBody>
      </p:sp>
    </p:spTree>
    <p:extLst>
      <p:ext uri="{BB962C8B-B14F-4D97-AF65-F5344CB8AC3E}">
        <p14:creationId xmlns:p14="http://schemas.microsoft.com/office/powerpoint/2010/main" val="33126060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609601" y="990600"/>
            <a:ext cx="490450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3. Limit Ad Deliverability by Running Ads on a Schedule (Dayparting)</a:t>
            </a:r>
          </a:p>
          <a:p>
            <a:pPr fontAlgn="base"/>
            <a:endParaRPr lang="en-US" sz="2000" b="1" dirty="0">
              <a:solidFill>
                <a:srgbClr val="90292A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Set Facebook ad set budget to lifetime budget">
            <a:extLst>
              <a:ext uri="{FF2B5EF4-FFF2-40B4-BE49-F238E27FC236}">
                <a16:creationId xmlns:a16="http://schemas.microsoft.com/office/drawing/2014/main" id="{4879A37C-BE72-4722-827F-BF961FD1E6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699"/>
          <a:stretch/>
        </p:blipFill>
        <p:spPr bwMode="auto">
          <a:xfrm>
            <a:off x="708892" y="2888737"/>
            <a:ext cx="6225487" cy="22746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Set Facebook ad scheduling to run on a schedule">
            <a:extLst>
              <a:ext uri="{FF2B5EF4-FFF2-40B4-BE49-F238E27FC236}">
                <a16:creationId xmlns:a16="http://schemas.microsoft.com/office/drawing/2014/main" id="{CE63EACF-5543-435B-9EF2-A390011F5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456" y="1702263"/>
            <a:ext cx="3789751" cy="2895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5885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91945" y="1040806"/>
            <a:ext cx="452118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Facebook Custom Convers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E29EE5-CEC6-A678-2877-BF1A515CCC28}"/>
              </a:ext>
            </a:extLst>
          </p:cNvPr>
          <p:cNvSpPr txBox="1"/>
          <p:nvPr/>
        </p:nvSpPr>
        <p:spPr>
          <a:xfrm>
            <a:off x="691945" y="1908365"/>
            <a:ext cx="6390968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 fontAlgn="base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rack conversion events inside Facebook ads.</a:t>
            </a:r>
          </a:p>
          <a:p>
            <a:pPr marL="342900" indent="-342900" algn="l" fontAlgn="base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arn what campaigns, ad sets, and ads are generating conversions and how many.</a:t>
            </a:r>
          </a:p>
          <a:p>
            <a:pPr marL="342900" indent="-342900" algn="l" fontAlgn="base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onally exclude users who have already converted from your audiences.</a:t>
            </a:r>
          </a:p>
          <a:p>
            <a:pPr marL="342900" indent="-342900" algn="l" fontAlgn="base">
              <a:buFont typeface="Arial" panose="020B0604020202020204" pitchFamily="34" charset="0"/>
              <a:buChar char="•"/>
            </a:pPr>
            <a:r>
              <a:rPr lang="en-US" sz="1400" b="0" i="0" dirty="0">
                <a:solidFill>
                  <a:srgbClr val="14141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lookalike audiences of similar users as those who have already convert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2C40CF-12ED-33B2-D3B2-017C82261584}"/>
              </a:ext>
            </a:extLst>
          </p:cNvPr>
          <p:cNvSpPr txBox="1"/>
          <p:nvPr/>
        </p:nvSpPr>
        <p:spPr>
          <a:xfrm>
            <a:off x="691945" y="4160919"/>
            <a:ext cx="801943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4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make custom conversions work, all you’ll need to have is a page where your customers end up after they convert, such as a thank you page or a confirmation page.</a:t>
            </a:r>
          </a:p>
        </p:txBody>
      </p:sp>
    </p:spTree>
    <p:extLst>
      <p:ext uri="{BB962C8B-B14F-4D97-AF65-F5344CB8AC3E}">
        <p14:creationId xmlns:p14="http://schemas.microsoft.com/office/powerpoint/2010/main" val="1628754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91945" y="993058"/>
            <a:ext cx="3619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onversions Setu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23DE07-87D2-A623-296E-C44F15090DCE}"/>
              </a:ext>
            </a:extLst>
          </p:cNvPr>
          <p:cNvSpPr txBox="1"/>
          <p:nvPr/>
        </p:nvSpPr>
        <p:spPr>
          <a:xfrm>
            <a:off x="691944" y="1697098"/>
            <a:ext cx="754748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ce you set up your Facebook pixel, you can access the custom conversions by going to your Ad manager and selecting th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nts Manager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option from the main menu in the top-left.</a:t>
            </a:r>
          </a:p>
          <a:p>
            <a:endParaRPr lang="en-US" sz="14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ce you’ve installed the Pixel, click on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ustom Conversions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in the left sidebar.</a:t>
            </a:r>
            <a:endParaRPr lang="en-A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AFB343D-3439-8646-36F5-A430820E28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45"/>
          <a:stretch/>
        </p:blipFill>
        <p:spPr>
          <a:xfrm>
            <a:off x="691944" y="3197609"/>
            <a:ext cx="7773630" cy="2524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8214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91945" y="993058"/>
            <a:ext cx="36195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Conversions Setup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9D2064-49DC-3B6C-429D-622AD3338951}"/>
              </a:ext>
            </a:extLst>
          </p:cNvPr>
          <p:cNvSpPr txBox="1"/>
          <p:nvPr/>
        </p:nvSpPr>
        <p:spPr>
          <a:xfrm>
            <a:off x="691944" y="1633669"/>
            <a:ext cx="285750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side th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ustom Conversions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section of th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Events Manager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click on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ustom Conversions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in the left menu.</a:t>
            </a:r>
          </a:p>
          <a:p>
            <a:pPr algn="l" fontAlgn="base"/>
            <a:endParaRPr lang="en-US" sz="1400" b="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ase"/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ext, click the blue </a:t>
            </a:r>
            <a:r>
              <a:rPr lang="en-US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reate Custom Conversion </a:t>
            </a:r>
            <a:r>
              <a:rPr lang="en-US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utton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35643A-6E13-8814-1778-A755C23789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4485" y="798716"/>
            <a:ext cx="4562475" cy="4867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023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143000" y="2053588"/>
            <a:ext cx="43499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anage your Ads from Mobil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992B02-D204-6F79-A981-BD8424F1FB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2965083"/>
            <a:ext cx="7543800" cy="166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014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F53DD2-664F-E63E-DC3C-A0DBD1BBA2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992" y="1396181"/>
            <a:ext cx="2413953" cy="42995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350CCE-D32B-1793-866B-05D99812F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5314" y="1396181"/>
            <a:ext cx="2417775" cy="42995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D5F86A-B1E9-5BAE-6AE5-882C0DF2FB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411" y="1396181"/>
            <a:ext cx="2378212" cy="427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0453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5B19A6A-E71E-E99E-2F6F-95282071FF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8548" y="1297856"/>
            <a:ext cx="2546043" cy="45256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51299A-324F-9A37-ED9F-4FF2CC78B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712" y="1297856"/>
            <a:ext cx="2550074" cy="45256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844B47B-7C62-810F-E7D9-1BB85E8521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4353" y="1297856"/>
            <a:ext cx="2540921" cy="4525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9180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9D41C3F-016A-F093-2C5B-1062B3BCB777}"/>
              </a:ext>
            </a:extLst>
          </p:cNvPr>
          <p:cNvSpPr txBox="1"/>
          <p:nvPr/>
        </p:nvSpPr>
        <p:spPr>
          <a:xfrm>
            <a:off x="1981200" y="2057400"/>
            <a:ext cx="5943600" cy="3000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405"/>
              </a:spcBef>
              <a:buClr>
                <a:srgbClr val="141414"/>
              </a:buClr>
              <a:buSzPts val="1100"/>
              <a:tabLst>
                <a:tab pos="205740" algn="dec"/>
              </a:tabLst>
              <a:defRPr/>
            </a:pPr>
            <a:r>
              <a:rPr lang="en-US" sz="1350" b="1" dirty="0">
                <a:solidFill>
                  <a:srgbClr val="666666"/>
                </a:solidFill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31FCC2B-359B-0E8B-4AD4-75CDBA12FCAB}"/>
              </a:ext>
            </a:extLst>
          </p:cNvPr>
          <p:cNvSpPr txBox="1">
            <a:spLocks/>
          </p:cNvSpPr>
          <p:nvPr/>
        </p:nvSpPr>
        <p:spPr bwMode="auto">
          <a:xfrm>
            <a:off x="2819400" y="3069432"/>
            <a:ext cx="2628900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</a:rPr>
              <a:t>Remarketing</a:t>
            </a:r>
          </a:p>
          <a:p>
            <a:pPr algn="l">
              <a:defRPr/>
            </a:pPr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</a:rPr>
              <a:t>on Facebook and Instagram</a:t>
            </a:r>
          </a:p>
        </p:txBody>
      </p:sp>
      <p:grpSp>
        <p:nvGrpSpPr>
          <p:cNvPr id="28676" name="Group 7">
            <a:extLst>
              <a:ext uri="{FF2B5EF4-FFF2-40B4-BE49-F238E27FC236}">
                <a16:creationId xmlns:a16="http://schemas.microsoft.com/office/drawing/2014/main" id="{3B278BF0-D074-0B20-8F63-41004F8CF22D}"/>
              </a:ext>
            </a:extLst>
          </p:cNvPr>
          <p:cNvGrpSpPr>
            <a:grpSpLocks/>
          </p:cNvGrpSpPr>
          <p:nvPr/>
        </p:nvGrpSpPr>
        <p:grpSpPr bwMode="auto">
          <a:xfrm>
            <a:off x="5712372" y="2917031"/>
            <a:ext cx="1600200" cy="664369"/>
            <a:chOff x="6781800" y="2819398"/>
            <a:chExt cx="2133601" cy="885209"/>
          </a:xfrm>
        </p:grpSpPr>
        <p:pic>
          <p:nvPicPr>
            <p:cNvPr id="28677" name="Picture 4" descr="Facebook logo and symbol, meaning, history, PNG">
              <a:extLst>
                <a:ext uri="{FF2B5EF4-FFF2-40B4-BE49-F238E27FC236}">
                  <a16:creationId xmlns:a16="http://schemas.microsoft.com/office/drawing/2014/main" id="{99837C39-4321-03A8-D540-C82DFB7D47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1800" y="2819398"/>
              <a:ext cx="1416335" cy="885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78" name="Picture 12" descr="Instagram Logo transparent PNG - StickPNG">
              <a:extLst>
                <a:ext uri="{FF2B5EF4-FFF2-40B4-BE49-F238E27FC236}">
                  <a16:creationId xmlns:a16="http://schemas.microsoft.com/office/drawing/2014/main" id="{B4C32319-E351-F701-AFB1-3E7D92F5F5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7201" y="2866406"/>
              <a:ext cx="838200" cy="83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455728-A56E-F8A7-434C-50F9A1BA10CA}"/>
              </a:ext>
            </a:extLst>
          </p:cNvPr>
          <p:cNvSpPr txBox="1"/>
          <p:nvPr/>
        </p:nvSpPr>
        <p:spPr>
          <a:xfrm>
            <a:off x="1981200" y="2057400"/>
            <a:ext cx="5943600" cy="3000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405"/>
              </a:spcBef>
              <a:buClr>
                <a:srgbClr val="141414"/>
              </a:buClr>
              <a:buSzPts val="1100"/>
              <a:tabLst>
                <a:tab pos="205740" algn="dec"/>
              </a:tabLst>
              <a:defRPr/>
            </a:pPr>
            <a:r>
              <a:rPr lang="en-US" sz="1350" b="1" dirty="0">
                <a:solidFill>
                  <a:srgbClr val="666666"/>
                </a:solidFill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83D8EC-8034-8D54-6ECC-ED71D7DD7438}"/>
              </a:ext>
            </a:extLst>
          </p:cNvPr>
          <p:cNvSpPr txBox="1">
            <a:spLocks/>
          </p:cNvSpPr>
          <p:nvPr/>
        </p:nvSpPr>
        <p:spPr bwMode="auto">
          <a:xfrm>
            <a:off x="718802" y="1648385"/>
            <a:ext cx="4813524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reate Custom Audiences and Lookalikes</a:t>
            </a:r>
          </a:p>
        </p:txBody>
      </p:sp>
      <p:pic>
        <p:nvPicPr>
          <p:cNvPr id="29700" name="Picture 2">
            <a:extLst>
              <a:ext uri="{FF2B5EF4-FFF2-40B4-BE49-F238E27FC236}">
                <a16:creationId xmlns:a16="http://schemas.microsoft.com/office/drawing/2014/main" id="{22C729F8-CBC2-F000-2176-2F602B5129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702" y="1507447"/>
            <a:ext cx="3772074" cy="3843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C0566A4-583B-11CD-D66F-12B2B0F67317}"/>
              </a:ext>
            </a:extLst>
          </p:cNvPr>
          <p:cNvSpPr/>
          <p:nvPr/>
        </p:nvSpPr>
        <p:spPr>
          <a:xfrm>
            <a:off x="6229350" y="1854972"/>
            <a:ext cx="40005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C050E3-2C5B-6A71-C4F5-5B2AA0151ABD}"/>
              </a:ext>
            </a:extLst>
          </p:cNvPr>
          <p:cNvSpPr/>
          <p:nvPr/>
        </p:nvSpPr>
        <p:spPr>
          <a:xfrm>
            <a:off x="8638252" y="1940697"/>
            <a:ext cx="581025" cy="58816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C4AAC0-D3FF-79D9-058E-EEB78E06C911}"/>
              </a:ext>
            </a:extLst>
          </p:cNvPr>
          <p:cNvSpPr txBox="1"/>
          <p:nvPr/>
        </p:nvSpPr>
        <p:spPr>
          <a:xfrm>
            <a:off x="663179" y="2596798"/>
            <a:ext cx="503515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rom your Business Manager, go to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enu – Audiences</a:t>
            </a:r>
          </a:p>
          <a:p>
            <a:pPr marL="214313" indent="-214313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reate Audience</a:t>
            </a:r>
          </a:p>
          <a:p>
            <a:pPr>
              <a:defRPr/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CE6734-731B-4C06-A1CB-EAC21AB0A3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3816" y="3824244"/>
            <a:ext cx="6160294" cy="1200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89B69F8-27D1-8D60-53AC-BC8D59543A20}"/>
              </a:ext>
            </a:extLst>
          </p:cNvPr>
          <p:cNvSpPr/>
          <p:nvPr/>
        </p:nvSpPr>
        <p:spPr>
          <a:xfrm>
            <a:off x="5753100" y="3886200"/>
            <a:ext cx="914400" cy="1714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37ACC4-E66C-9BFC-9657-947A55064C47}"/>
              </a:ext>
            </a:extLst>
          </p:cNvPr>
          <p:cNvSpPr/>
          <p:nvPr/>
        </p:nvSpPr>
        <p:spPr>
          <a:xfrm>
            <a:off x="5905500" y="4629150"/>
            <a:ext cx="40005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814771C-DE4F-26D8-893F-9F198B6D6527}"/>
              </a:ext>
            </a:extLst>
          </p:cNvPr>
          <p:cNvSpPr/>
          <p:nvPr/>
        </p:nvSpPr>
        <p:spPr>
          <a:xfrm>
            <a:off x="5905500" y="4857750"/>
            <a:ext cx="571500" cy="16664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9">
            <a:extLst>
              <a:ext uri="{FF2B5EF4-FFF2-40B4-BE49-F238E27FC236}">
                <a16:creationId xmlns:a16="http://schemas.microsoft.com/office/drawing/2014/main" id="{5E48DB17-AB0E-3CAA-5991-3CA295D809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917" y="1600200"/>
            <a:ext cx="5489515" cy="3937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684C1F33-A9B8-DA8D-CB42-7FA10BCF1D9A}"/>
              </a:ext>
            </a:extLst>
          </p:cNvPr>
          <p:cNvSpPr txBox="1">
            <a:spLocks/>
          </p:cNvSpPr>
          <p:nvPr/>
        </p:nvSpPr>
        <p:spPr bwMode="auto">
          <a:xfrm>
            <a:off x="424016" y="3374233"/>
            <a:ext cx="4457700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ypes of Custom </a:t>
            </a:r>
          </a:p>
          <a:p>
            <a:pPr algn="l">
              <a:defRPr/>
            </a:pP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Audience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ABDFD77-6EA5-C200-B219-035164290661}"/>
              </a:ext>
            </a:extLst>
          </p:cNvPr>
          <p:cNvSpPr txBox="1">
            <a:spLocks/>
          </p:cNvSpPr>
          <p:nvPr/>
        </p:nvSpPr>
        <p:spPr bwMode="auto">
          <a:xfrm>
            <a:off x="349044" y="3429000"/>
            <a:ext cx="4457700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>
              <a:defRPr/>
            </a:pPr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ookalike Audiences</a:t>
            </a:r>
          </a:p>
          <a:p>
            <a:pPr algn="l">
              <a:defRPr/>
            </a:pPr>
            <a:r>
              <a:rPr lang="en-US" sz="2000" i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eople similar to your Custom Audienc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89985D-5C30-9D9D-74E3-FFCEC5D146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6258" y="1340913"/>
            <a:ext cx="4106156" cy="36778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C32CE29-A0B0-1F51-5116-ED0D3F7CC3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19" r="6520" b="2122"/>
          <a:stretch/>
        </p:blipFill>
        <p:spPr>
          <a:xfrm>
            <a:off x="2990850" y="1340913"/>
            <a:ext cx="1200150" cy="160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F10BEE6-BFD0-CCCF-0552-FC15894A82C3}"/>
              </a:ext>
            </a:extLst>
          </p:cNvPr>
          <p:cNvSpPr/>
          <p:nvPr/>
        </p:nvSpPr>
        <p:spPr>
          <a:xfrm>
            <a:off x="2990850" y="2046953"/>
            <a:ext cx="1200150" cy="27265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8E4D33-381C-C2A7-B23A-8A5F656CE506}"/>
              </a:ext>
            </a:extLst>
          </p:cNvPr>
          <p:cNvSpPr/>
          <p:nvPr/>
        </p:nvSpPr>
        <p:spPr>
          <a:xfrm>
            <a:off x="4336256" y="1564752"/>
            <a:ext cx="4106156" cy="6917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81688" y="1138201"/>
            <a:ext cx="7924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Ads Tips to Remember</a:t>
            </a:r>
          </a:p>
        </p:txBody>
      </p:sp>
      <p:sp>
        <p:nvSpPr>
          <p:cNvPr id="5" name="Rectangle 4"/>
          <p:cNvSpPr/>
          <p:nvPr/>
        </p:nvSpPr>
        <p:spPr>
          <a:xfrm>
            <a:off x="781688" y="1981201"/>
            <a:ext cx="730042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target people who put a product in their cart but never checked out.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clude from your targeting, users who are already your customers, whenever needed.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reate a Lookalike audience of users very similar to your customers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mote your mobile app to your website’s users and vice versa.</a:t>
            </a:r>
          </a:p>
        </p:txBody>
      </p:sp>
    </p:spTree>
    <p:extLst>
      <p:ext uri="{BB962C8B-B14F-4D97-AF65-F5344CB8AC3E}">
        <p14:creationId xmlns:p14="http://schemas.microsoft.com/office/powerpoint/2010/main" val="20934642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9D41C3F-016A-F093-2C5B-1062B3BCB777}"/>
              </a:ext>
            </a:extLst>
          </p:cNvPr>
          <p:cNvSpPr txBox="1"/>
          <p:nvPr/>
        </p:nvSpPr>
        <p:spPr>
          <a:xfrm>
            <a:off x="1981200" y="2057400"/>
            <a:ext cx="5943600" cy="3000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405"/>
              </a:spcBef>
              <a:buClr>
                <a:srgbClr val="141414"/>
              </a:buClr>
              <a:buSzPts val="1100"/>
              <a:tabLst>
                <a:tab pos="205740" algn="dec"/>
              </a:tabLst>
              <a:defRPr/>
            </a:pPr>
            <a:r>
              <a:rPr lang="en-US" sz="1350" b="1" dirty="0">
                <a:solidFill>
                  <a:srgbClr val="666666"/>
                </a:solidFill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31FCC2B-359B-0E8B-4AD4-75CDBA12FCAB}"/>
              </a:ext>
            </a:extLst>
          </p:cNvPr>
          <p:cNvSpPr txBox="1">
            <a:spLocks/>
          </p:cNvSpPr>
          <p:nvPr/>
        </p:nvSpPr>
        <p:spPr bwMode="auto">
          <a:xfrm>
            <a:off x="2724150" y="2782711"/>
            <a:ext cx="4457700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</a:rPr>
              <a:t>Additional Features and Tips</a:t>
            </a:r>
          </a:p>
        </p:txBody>
      </p:sp>
      <p:grpSp>
        <p:nvGrpSpPr>
          <p:cNvPr id="28676" name="Group 7">
            <a:extLst>
              <a:ext uri="{FF2B5EF4-FFF2-40B4-BE49-F238E27FC236}">
                <a16:creationId xmlns:a16="http://schemas.microsoft.com/office/drawing/2014/main" id="{3B278BF0-D074-0B20-8F63-41004F8CF22D}"/>
              </a:ext>
            </a:extLst>
          </p:cNvPr>
          <p:cNvGrpSpPr>
            <a:grpSpLocks/>
          </p:cNvGrpSpPr>
          <p:nvPr/>
        </p:nvGrpSpPr>
        <p:grpSpPr bwMode="auto">
          <a:xfrm>
            <a:off x="4267200" y="3562568"/>
            <a:ext cx="1371600" cy="664369"/>
            <a:chOff x="7086600" y="2819398"/>
            <a:chExt cx="1828801" cy="885209"/>
          </a:xfrm>
        </p:grpSpPr>
        <p:pic>
          <p:nvPicPr>
            <p:cNvPr id="28677" name="Picture 4" descr="Facebook logo and symbol, meaning, history, PNG">
              <a:extLst>
                <a:ext uri="{FF2B5EF4-FFF2-40B4-BE49-F238E27FC236}">
                  <a16:creationId xmlns:a16="http://schemas.microsoft.com/office/drawing/2014/main" id="{99837C39-4321-03A8-D540-C82DFB7D47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521" r="19298"/>
            <a:stretch/>
          </p:blipFill>
          <p:spPr bwMode="auto">
            <a:xfrm>
              <a:off x="7086600" y="2819398"/>
              <a:ext cx="838202" cy="885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78" name="Picture 12" descr="Instagram Logo transparent PNG - StickPNG">
              <a:extLst>
                <a:ext uri="{FF2B5EF4-FFF2-40B4-BE49-F238E27FC236}">
                  <a16:creationId xmlns:a16="http://schemas.microsoft.com/office/drawing/2014/main" id="{B4C32319-E351-F701-AFB1-3E7D92F5F5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7201" y="2866406"/>
              <a:ext cx="838200" cy="838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8729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9D41C3F-016A-F093-2C5B-1062B3BCB777}"/>
              </a:ext>
            </a:extLst>
          </p:cNvPr>
          <p:cNvSpPr txBox="1"/>
          <p:nvPr/>
        </p:nvSpPr>
        <p:spPr>
          <a:xfrm>
            <a:off x="1981200" y="2057400"/>
            <a:ext cx="5943600" cy="3000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405"/>
              </a:spcBef>
              <a:buClr>
                <a:srgbClr val="141414"/>
              </a:buClr>
              <a:buSzPts val="1100"/>
              <a:tabLst>
                <a:tab pos="205740" algn="dec"/>
              </a:tabLst>
              <a:defRPr/>
            </a:pPr>
            <a:r>
              <a:rPr lang="en-US" sz="1350" b="1" dirty="0">
                <a:solidFill>
                  <a:srgbClr val="666666"/>
                </a:solidFill>
              </a:rPr>
              <a:t> 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31FCC2B-359B-0E8B-4AD4-75CDBA12FCAB}"/>
              </a:ext>
            </a:extLst>
          </p:cNvPr>
          <p:cNvSpPr txBox="1">
            <a:spLocks/>
          </p:cNvSpPr>
          <p:nvPr/>
        </p:nvSpPr>
        <p:spPr bwMode="auto">
          <a:xfrm>
            <a:off x="2724150" y="3069432"/>
            <a:ext cx="4457700" cy="35956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2D385B"/>
                </a:solidFill>
                <a:latin typeface="+mn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2D385B"/>
                </a:solidFill>
                <a:latin typeface="Calibri" panose="020F050202020403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equency</a:t>
            </a:r>
          </a:p>
        </p:txBody>
      </p:sp>
    </p:spTree>
    <p:extLst>
      <p:ext uri="{BB962C8B-B14F-4D97-AF65-F5344CB8AC3E}">
        <p14:creationId xmlns:p14="http://schemas.microsoft.com/office/powerpoint/2010/main" val="3668312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65F994-414F-4275-BDD5-0A776D01C9B1}"/>
              </a:ext>
            </a:extLst>
          </p:cNvPr>
          <p:cNvSpPr/>
          <p:nvPr/>
        </p:nvSpPr>
        <p:spPr>
          <a:xfrm>
            <a:off x="1905000" y="3047940"/>
            <a:ext cx="6096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acebook Ad Fatigue Optimization</a:t>
            </a:r>
          </a:p>
        </p:txBody>
      </p:sp>
    </p:spTree>
    <p:extLst>
      <p:ext uri="{BB962C8B-B14F-4D97-AF65-F5344CB8AC3E}">
        <p14:creationId xmlns:p14="http://schemas.microsoft.com/office/powerpoint/2010/main" val="4115384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ED66205-616C-4BE8-A82D-377F173548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6</TotalTime>
  <Words>378</Words>
  <Application>Microsoft Office PowerPoint</Application>
  <PresentationFormat>A4 Paper (210x297 mm)</PresentationFormat>
  <Paragraphs>56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Georgia</vt:lpstr>
      <vt:lpstr>Tema de Office</vt:lpstr>
      <vt:lpstr>Diapositiva d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22</cp:revision>
  <dcterms:created xsi:type="dcterms:W3CDTF">2016-07-11T04:31:49Z</dcterms:created>
  <dcterms:modified xsi:type="dcterms:W3CDTF">2023-12-07T07:4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  <property fmtid="{D5CDD505-2E9C-101B-9397-08002B2CF9AE}" pid="8" name="MediaServiceImageTags">
    <vt:lpwstr/>
  </property>
</Properties>
</file>